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charts/chart1.xml" ContentType="application/vnd.openxmlformats-officedocument.drawingml.chart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charts/chart2.xml" ContentType="application/vnd.openxmlformats-officedocument.drawingml.chart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charts/chart3.xml" ContentType="application/vnd.openxmlformats-officedocument.drawingml.chart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16" r:id="rId2"/>
  </p:sldMasterIdLst>
  <p:notesMasterIdLst>
    <p:notesMasterId r:id="rId21"/>
  </p:notesMasterIdLst>
  <p:handoutMasterIdLst>
    <p:handoutMasterId r:id="rId22"/>
  </p:handoutMasterIdLst>
  <p:sldIdLst>
    <p:sldId id="257" r:id="rId3"/>
    <p:sldId id="275" r:id="rId4"/>
    <p:sldId id="270" r:id="rId5"/>
    <p:sldId id="271" r:id="rId6"/>
    <p:sldId id="265" r:id="rId7"/>
    <p:sldId id="266" r:id="rId8"/>
    <p:sldId id="272" r:id="rId9"/>
    <p:sldId id="276" r:id="rId10"/>
    <p:sldId id="273" r:id="rId11"/>
    <p:sldId id="278" r:id="rId12"/>
    <p:sldId id="274" r:id="rId13"/>
    <p:sldId id="268" r:id="rId14"/>
    <p:sldId id="269" r:id="rId15"/>
    <p:sldId id="277" r:id="rId16"/>
    <p:sldId id="258" r:id="rId17"/>
    <p:sldId id="261" r:id="rId18"/>
    <p:sldId id="262" r:id="rId19"/>
    <p:sldId id="263" r:id="rId20"/>
  </p:sldIdLst>
  <p:sldSz cx="9144000" cy="5143500" type="screen16x9"/>
  <p:notesSz cx="6858000" cy="9144000"/>
  <p:custDataLst>
    <p:tags r:id="rId23"/>
  </p:custDataLst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htinen Eeva" initials="LE" lastIdx="5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EB8"/>
    <a:srgbClr val="FFFFFF"/>
    <a:srgbClr val="EF363B"/>
    <a:srgbClr val="00965E"/>
    <a:srgbClr val="EE353B"/>
    <a:srgbClr val="FF0000"/>
    <a:srgbClr val="FFC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741" autoAdjust="0"/>
    <p:restoredTop sz="80094" autoAdjust="0"/>
  </p:normalViewPr>
  <p:slideViewPr>
    <p:cSldViewPr snapToGrid="0" snapToObjects="1">
      <p:cViewPr varScale="1">
        <p:scale>
          <a:sx n="103" d="100"/>
          <a:sy n="103" d="100"/>
        </p:scale>
        <p:origin x="176" y="8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93" d="100"/>
          <a:sy n="93" d="100"/>
        </p:scale>
        <p:origin x="4022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530329289428074E-2"/>
          <c:y val="1.9946298427311084E-2"/>
          <c:w val="0.95147313691507795"/>
          <c:h val="0.9601074031453777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461-4470-92E4-AD1476C9237B}"/>
                </c:ext>
              </c:extLst>
            </c:dLbl>
            <c:dLbl>
              <c:idx val="1"/>
              <c:layout>
                <c:manualLayout>
                  <c:x val="0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461-4470-92E4-AD1476C9237B}"/>
                </c:ext>
              </c:extLst>
            </c:dLbl>
            <c:dLbl>
              <c:idx val="2"/>
              <c:layout>
                <c:manualLayout>
                  <c:x val="0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461-4470-92E4-AD1476C9237B}"/>
                </c:ext>
              </c:extLst>
            </c:dLbl>
            <c:dLbl>
              <c:idx val="3"/>
              <c:layout>
                <c:manualLayout>
                  <c:x val="0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461-4470-92E4-AD1476C9237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357.497710978796</c:v>
                </c:pt>
                <c:pt idx="1">
                  <c:v>1321.018094963242</c:v>
                </c:pt>
                <c:pt idx="2">
                  <c:v>1262.3898024374744</c:v>
                </c:pt>
                <c:pt idx="3">
                  <c:v>1281.3121915268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461-4470-92E4-AD1476C9237B}"/>
            </c:ext>
          </c:extLst>
        </c:ser>
        <c:ser>
          <c:idx val="1"/>
          <c:order val="1"/>
          <c:spPr>
            <a:solidFill>
              <a:srgbClr val="4C6C9C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461-4470-92E4-AD1476C9237B}"/>
            </c:ext>
          </c:extLst>
        </c:ser>
        <c:ser>
          <c:idx val="2"/>
          <c:order val="2"/>
          <c:spPr>
            <a:solidFill>
              <a:srgbClr val="6F8DB9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3:$D$3</c:f>
              <c:numCache>
                <c:formatCode>General</c:formatCode>
                <c:ptCount val="4"/>
                <c:pt idx="0">
                  <c:v>374.64285131506585</c:v>
                </c:pt>
                <c:pt idx="1">
                  <c:v>362.13911452002344</c:v>
                </c:pt>
                <c:pt idx="2">
                  <c:v>376.98504612119223</c:v>
                </c:pt>
                <c:pt idx="3">
                  <c:v>354.56333594976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461-4470-92E4-AD1476C9237B}"/>
            </c:ext>
          </c:extLst>
        </c:ser>
        <c:ser>
          <c:idx val="3"/>
          <c:order val="3"/>
          <c:spPr>
            <a:solidFill>
              <a:srgbClr val="9DB1C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10398613518197573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461-4470-92E4-AD1476C9237B}"/>
                </c:ext>
              </c:extLst>
            </c:dLbl>
            <c:dLbl>
              <c:idx val="1"/>
              <c:layout>
                <c:manualLayout>
                  <c:x val="0.10398613518197573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461-4470-92E4-AD1476C9237B}"/>
                </c:ext>
              </c:extLst>
            </c:dLbl>
            <c:dLbl>
              <c:idx val="2"/>
              <c:layout>
                <c:manualLayout>
                  <c:x val="0.10398613518197573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6461-4470-92E4-AD1476C9237B}"/>
                </c:ext>
              </c:extLst>
            </c:dLbl>
            <c:dLbl>
              <c:idx val="3"/>
              <c:layout>
                <c:manualLayout>
                  <c:x val="0.10398613518197573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6461-4470-92E4-AD1476C9237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D$4</c:f>
              <c:numCache>
                <c:formatCode>General</c:formatCode>
                <c:ptCount val="4"/>
                <c:pt idx="0">
                  <c:v>313.83475902717964</c:v>
                </c:pt>
                <c:pt idx="1">
                  <c:v>315.00143615954835</c:v>
                </c:pt>
                <c:pt idx="2">
                  <c:v>261.2448650843869</c:v>
                </c:pt>
                <c:pt idx="3">
                  <c:v>176.071671346439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6461-4470-92E4-AD1476C9237B}"/>
            </c:ext>
          </c:extLst>
        </c:ser>
        <c:ser>
          <c:idx val="4"/>
          <c:order val="4"/>
          <c:spPr>
            <a:solidFill>
              <a:srgbClr val="C3CFE1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6461-4470-92E4-AD1476C9237B}"/>
                </c:ext>
              </c:extLst>
            </c:dLbl>
            <c:dLbl>
              <c:idx val="1"/>
              <c:layout>
                <c:manualLayout>
                  <c:x val="0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6461-4470-92E4-AD1476C9237B}"/>
                </c:ext>
              </c:extLst>
            </c:dLbl>
            <c:dLbl>
              <c:idx val="2"/>
              <c:layout>
                <c:manualLayout>
                  <c:x val="0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6461-4470-92E4-AD1476C9237B}"/>
                </c:ext>
              </c:extLst>
            </c:dLbl>
            <c:dLbl>
              <c:idx val="3"/>
              <c:layout>
                <c:manualLayout>
                  <c:x val="0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6461-4470-92E4-AD1476C9237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D$5</c:f>
              <c:numCache>
                <c:formatCode>General</c:formatCode>
                <c:ptCount val="4"/>
                <c:pt idx="0">
                  <c:v>1556.5116477272727</c:v>
                </c:pt>
                <c:pt idx="1">
                  <c:v>1729.4573863636363</c:v>
                </c:pt>
                <c:pt idx="2">
                  <c:v>1779.6097959183674</c:v>
                </c:pt>
                <c:pt idx="3">
                  <c:v>1760.18549222798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6461-4470-92E4-AD1476C9237B}"/>
            </c:ext>
          </c:extLst>
        </c:ser>
        <c:ser>
          <c:idx val="5"/>
          <c:order val="5"/>
          <c:spPr>
            <a:solidFill>
              <a:srgbClr val="DFE5E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.10398613518197573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6461-4470-92E4-AD1476C9237B}"/>
                </c:ext>
              </c:extLst>
            </c:dLbl>
            <c:dLbl>
              <c:idx val="2"/>
              <c:layout>
                <c:manualLayout>
                  <c:x val="0"/>
                  <c:y val="-7.6716532412734941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6461-4470-92E4-AD1476C9237B}"/>
                </c:ext>
              </c:extLst>
            </c:dLbl>
            <c:dLbl>
              <c:idx val="3"/>
              <c:layout>
                <c:manualLayout>
                  <c:x val="0"/>
                  <c:y val="-7.6716532412734941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6461-4470-92E4-AD1476C9237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D$6</c:f>
              <c:numCache>
                <c:formatCode>General</c:formatCode>
                <c:ptCount val="4"/>
                <c:pt idx="0">
                  <c:v>516.92586435247858</c:v>
                </c:pt>
                <c:pt idx="1">
                  <c:v>516.92586435247813</c:v>
                </c:pt>
                <c:pt idx="2">
                  <c:v>542.165688564025</c:v>
                </c:pt>
                <c:pt idx="3">
                  <c:v>542.165688564024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6461-4470-92E4-AD1476C9237B}"/>
            </c:ext>
          </c:extLst>
        </c:ser>
        <c:ser>
          <c:idx val="6"/>
          <c:order val="6"/>
          <c:spPr>
            <a:solidFill>
              <a:srgbClr val="364D6E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10398613518197573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6461-4470-92E4-AD1476C9237B}"/>
                </c:ext>
              </c:extLst>
            </c:dLbl>
            <c:dLbl>
              <c:idx val="1"/>
              <c:layout>
                <c:manualLayout>
                  <c:x val="0"/>
                  <c:y val="-7.6716532412734941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6461-4470-92E4-AD1476C9237B}"/>
                </c:ext>
              </c:extLst>
            </c:dLbl>
            <c:dLbl>
              <c:idx val="2"/>
              <c:layout>
                <c:manualLayout>
                  <c:x val="0.10398613518197573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6461-4470-92E4-AD1476C9237B}"/>
                </c:ext>
              </c:extLst>
            </c:dLbl>
            <c:dLbl>
              <c:idx val="3"/>
              <c:layout>
                <c:manualLayout>
                  <c:x val="0.10398613518197573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6461-4470-92E4-AD1476C9237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:$D$7</c:f>
              <c:numCache>
                <c:formatCode>General</c:formatCode>
                <c:ptCount val="4"/>
                <c:pt idx="0">
                  <c:v>492.69738933030658</c:v>
                </c:pt>
                <c:pt idx="1">
                  <c:v>521.87026106696976</c:v>
                </c:pt>
                <c:pt idx="2">
                  <c:v>505.95706371191136</c:v>
                </c:pt>
                <c:pt idx="3">
                  <c:v>512.501385041551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6461-4470-92E4-AD1476C9237B}"/>
            </c:ext>
          </c:extLst>
        </c:ser>
        <c:ser>
          <c:idx val="7"/>
          <c:order val="7"/>
          <c:spPr>
            <a:solidFill>
              <a:srgbClr val="4C6C9C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6461-4470-92E4-AD1476C9237B}"/>
                </c:ext>
              </c:extLst>
            </c:dLbl>
            <c:dLbl>
              <c:idx val="1"/>
              <c:layout>
                <c:manualLayout>
                  <c:x val="0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6461-4470-92E4-AD1476C9237B}"/>
                </c:ext>
              </c:extLst>
            </c:dLbl>
            <c:dLbl>
              <c:idx val="2"/>
              <c:layout>
                <c:manualLayout>
                  <c:x val="0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6461-4470-92E4-AD1476C9237B}"/>
                </c:ext>
              </c:extLst>
            </c:dLbl>
            <c:dLbl>
              <c:idx val="3"/>
              <c:layout>
                <c:manualLayout>
                  <c:x val="0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6461-4470-92E4-AD1476C9237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8:$D$8</c:f>
              <c:numCache>
                <c:formatCode>General</c:formatCode>
                <c:ptCount val="4"/>
                <c:pt idx="0">
                  <c:v>1601.9801608635953</c:v>
                </c:pt>
                <c:pt idx="1">
                  <c:v>1710.5390048125282</c:v>
                </c:pt>
                <c:pt idx="2">
                  <c:v>1738.8104945304831</c:v>
                </c:pt>
                <c:pt idx="3">
                  <c:v>1848.21479992414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6461-4470-92E4-AD1476C9237B}"/>
            </c:ext>
          </c:extLst>
        </c:ser>
        <c:ser>
          <c:idx val="8"/>
          <c:order val="8"/>
          <c:spPr>
            <a:solidFill>
              <a:srgbClr val="6F8DB9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F-6461-4470-92E4-AD1476C9237B}"/>
                </c:ext>
              </c:extLst>
            </c:dLbl>
            <c:dLbl>
              <c:idx val="1"/>
              <c:layout>
                <c:manualLayout>
                  <c:x val="0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0-6461-4470-92E4-AD1476C9237B}"/>
                </c:ext>
              </c:extLst>
            </c:dLbl>
            <c:dLbl>
              <c:idx val="2"/>
              <c:layout>
                <c:manualLayout>
                  <c:x val="0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1-6461-4470-92E4-AD1476C9237B}"/>
                </c:ext>
              </c:extLst>
            </c:dLbl>
            <c:dLbl>
              <c:idx val="3"/>
              <c:layout>
                <c:manualLayout>
                  <c:x val="0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6461-4470-92E4-AD1476C9237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9:$D$9</c:f>
              <c:numCache>
                <c:formatCode>General</c:formatCode>
                <c:ptCount val="4"/>
                <c:pt idx="0">
                  <c:v>1157.8245206510564</c:v>
                </c:pt>
                <c:pt idx="1">
                  <c:v>1521.4894239718988</c:v>
                </c:pt>
                <c:pt idx="2">
                  <c:v>1410.5258076809596</c:v>
                </c:pt>
                <c:pt idx="3">
                  <c:v>1297.69438100394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3-6461-4470-92E4-AD1476C9237B}"/>
            </c:ext>
          </c:extLst>
        </c:ser>
        <c:ser>
          <c:idx val="9"/>
          <c:order val="9"/>
          <c:spPr>
            <a:solidFill>
              <a:srgbClr val="9DB1C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4-6461-4470-92E4-AD1476C9237B}"/>
                </c:ext>
              </c:extLst>
            </c:dLbl>
            <c:dLbl>
              <c:idx val="1"/>
              <c:layout>
                <c:manualLayout>
                  <c:x val="0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5-6461-4470-92E4-AD1476C9237B}"/>
                </c:ext>
              </c:extLst>
            </c:dLbl>
            <c:dLbl>
              <c:idx val="2"/>
              <c:layout>
                <c:manualLayout>
                  <c:x val="0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6-6461-4470-92E4-AD1476C9237B}"/>
                </c:ext>
              </c:extLst>
            </c:dLbl>
            <c:dLbl>
              <c:idx val="3"/>
              <c:layout>
                <c:manualLayout>
                  <c:x val="0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7-6461-4470-92E4-AD1476C9237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0:$D$10</c:f>
              <c:numCache>
                <c:formatCode>General</c:formatCode>
                <c:ptCount val="4"/>
                <c:pt idx="0">
                  <c:v>3984.6711907449217</c:v>
                </c:pt>
                <c:pt idx="1">
                  <c:v>4036.505600127095</c:v>
                </c:pt>
                <c:pt idx="2">
                  <c:v>3943.7319104268718</c:v>
                </c:pt>
                <c:pt idx="3">
                  <c:v>3903.58385250166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8-6461-4470-92E4-AD1476C9237B}"/>
            </c:ext>
          </c:extLst>
        </c:ser>
        <c:ser>
          <c:idx val="10"/>
          <c:order val="10"/>
          <c:spPr>
            <a:solidFill>
              <a:srgbClr val="C3CFE1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9-6461-4470-92E4-AD1476C9237B}"/>
                </c:ext>
              </c:extLst>
            </c:dLbl>
            <c:dLbl>
              <c:idx val="1"/>
              <c:layout>
                <c:manualLayout>
                  <c:x val="0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A-6461-4470-92E4-AD1476C9237B}"/>
                </c:ext>
              </c:extLst>
            </c:dLbl>
            <c:dLbl>
              <c:idx val="2"/>
              <c:layout>
                <c:manualLayout>
                  <c:x val="0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B-6461-4470-92E4-AD1476C9237B}"/>
                </c:ext>
              </c:extLst>
            </c:dLbl>
            <c:dLbl>
              <c:idx val="3"/>
              <c:layout>
                <c:manualLayout>
                  <c:x val="0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C-6461-4470-92E4-AD1476C9237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1:$D$11</c:f>
              <c:numCache>
                <c:formatCode>General</c:formatCode>
                <c:ptCount val="4"/>
                <c:pt idx="0">
                  <c:v>5724.6913589230517</c:v>
                </c:pt>
                <c:pt idx="1">
                  <c:v>5648.0871748226309</c:v>
                </c:pt>
                <c:pt idx="2">
                  <c:v>5454.1938942607958</c:v>
                </c:pt>
                <c:pt idx="3">
                  <c:v>5121.00944113906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D-6461-4470-92E4-AD1476C9237B}"/>
            </c:ext>
          </c:extLst>
        </c:ser>
        <c:ser>
          <c:idx val="11"/>
          <c:order val="11"/>
          <c:spPr>
            <a:solidFill>
              <a:srgbClr val="DFE5E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E-6461-4470-92E4-AD1476C9237B}"/>
                </c:ext>
              </c:extLst>
            </c:dLbl>
            <c:dLbl>
              <c:idx val="1"/>
              <c:layout>
                <c:manualLayout>
                  <c:x val="0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F-6461-4470-92E4-AD1476C9237B}"/>
                </c:ext>
              </c:extLst>
            </c:dLbl>
            <c:dLbl>
              <c:idx val="2"/>
              <c:layout>
                <c:manualLayout>
                  <c:x val="0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0-6461-4470-92E4-AD1476C9237B}"/>
                </c:ext>
              </c:extLst>
            </c:dLbl>
            <c:dLbl>
              <c:idx val="3"/>
              <c:layout>
                <c:manualLayout>
                  <c:x val="0"/>
                  <c:y val="-1.150747986191024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1-6461-4470-92E4-AD1476C9237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2:$D$12</c:f>
              <c:numCache>
                <c:formatCode>General</c:formatCode>
                <c:ptCount val="4"/>
                <c:pt idx="0">
                  <c:v>2345.6503488068847</c:v>
                </c:pt>
                <c:pt idx="1">
                  <c:v>2310.4320250358578</c:v>
                </c:pt>
                <c:pt idx="2">
                  <c:v>2081.8678051286188</c:v>
                </c:pt>
                <c:pt idx="3">
                  <c:v>1918.91702722198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2-6461-4470-92E4-AD1476C923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49769103"/>
        <c:axId val="1"/>
      </c:barChart>
      <c:catAx>
        <c:axId val="9497691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9993.46538619590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4976910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652305366591082E-2"/>
          <c:y val="2.5603151157065487E-2"/>
          <c:w val="0.96069538926681786"/>
          <c:h val="0.9487936976858690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6F8DB9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9C2-4A9B-848F-014FFA2DA16B}"/>
                </c:ext>
              </c:extLst>
            </c:dLbl>
            <c:dLbl>
              <c:idx val="1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9C2-4A9B-848F-014FFA2DA16B}"/>
                </c:ext>
              </c:extLst>
            </c:dLbl>
            <c:dLbl>
              <c:idx val="2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9C2-4A9B-848F-014FFA2DA16B}"/>
                </c:ext>
              </c:extLst>
            </c:dLbl>
            <c:dLbl>
              <c:idx val="3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9C2-4A9B-848F-014FFA2DA16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27.543424317617866</c:v>
                </c:pt>
                <c:pt idx="1">
                  <c:v>31.648936170212767</c:v>
                </c:pt>
                <c:pt idx="2">
                  <c:v>34.574468085106382</c:v>
                </c:pt>
                <c:pt idx="3">
                  <c:v>30.7246376811594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9C2-4A9B-848F-014FFA2DA16B}"/>
            </c:ext>
          </c:extLst>
        </c:ser>
        <c:ser>
          <c:idx val="1"/>
          <c:order val="1"/>
          <c:spPr>
            <a:solidFill>
              <a:srgbClr val="9DB1C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9C2-4A9B-848F-014FFA2DA16B}"/>
                </c:ext>
              </c:extLst>
            </c:dLbl>
            <c:dLbl>
              <c:idx val="1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9C2-4A9B-848F-014FFA2DA16B}"/>
                </c:ext>
              </c:extLst>
            </c:dLbl>
            <c:dLbl>
              <c:idx val="2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9C2-4A9B-848F-014FFA2DA16B}"/>
                </c:ext>
              </c:extLst>
            </c:dLbl>
            <c:dLbl>
              <c:idx val="3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9C2-4A9B-848F-014FFA2DA16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34.987593052109183</c:v>
                </c:pt>
                <c:pt idx="1">
                  <c:v>33.244680851063826</c:v>
                </c:pt>
                <c:pt idx="2">
                  <c:v>35.37234042553191</c:v>
                </c:pt>
                <c:pt idx="3">
                  <c:v>38.5507246376811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9C2-4A9B-848F-014FFA2DA16B}"/>
            </c:ext>
          </c:extLst>
        </c:ser>
        <c:ser>
          <c:idx val="2"/>
          <c:order val="2"/>
          <c:spPr>
            <a:solidFill>
              <a:srgbClr val="C3CFE1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9C2-4A9B-848F-014FFA2DA16B}"/>
                </c:ext>
              </c:extLst>
            </c:dLbl>
            <c:dLbl>
              <c:idx val="1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9C2-4A9B-848F-014FFA2DA16B}"/>
                </c:ext>
              </c:extLst>
            </c:dLbl>
            <c:dLbl>
              <c:idx val="2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E9C2-4A9B-848F-014FFA2DA16B}"/>
                </c:ext>
              </c:extLst>
            </c:dLbl>
            <c:dLbl>
              <c:idx val="3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E9C2-4A9B-848F-014FFA2DA16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19.602977667493793</c:v>
                </c:pt>
                <c:pt idx="1">
                  <c:v>17.021276595744684</c:v>
                </c:pt>
                <c:pt idx="2">
                  <c:v>17.819148936170215</c:v>
                </c:pt>
                <c:pt idx="3">
                  <c:v>17.6811594202898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E9C2-4A9B-848F-014FFA2DA16B}"/>
            </c:ext>
          </c:extLst>
        </c:ser>
        <c:ser>
          <c:idx val="3"/>
          <c:order val="3"/>
          <c:spPr>
            <a:solidFill>
              <a:srgbClr val="DFE5E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E9C2-4A9B-848F-014FFA2DA16B}"/>
                </c:ext>
              </c:extLst>
            </c:dLbl>
            <c:dLbl>
              <c:idx val="1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E9C2-4A9B-848F-014FFA2DA16B}"/>
                </c:ext>
              </c:extLst>
            </c:dLbl>
            <c:dLbl>
              <c:idx val="2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E9C2-4A9B-848F-014FFA2DA16B}"/>
                </c:ext>
              </c:extLst>
            </c:dLbl>
            <c:dLbl>
              <c:idx val="3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E9C2-4A9B-848F-014FFA2DA16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D$4</c:f>
              <c:numCache>
                <c:formatCode>General</c:formatCode>
                <c:ptCount val="4"/>
                <c:pt idx="0">
                  <c:v>17.866004962779158</c:v>
                </c:pt>
                <c:pt idx="1">
                  <c:v>18.085106382978722</c:v>
                </c:pt>
                <c:pt idx="2">
                  <c:v>12.234042553191493</c:v>
                </c:pt>
                <c:pt idx="3">
                  <c:v>13.0434782608695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E9C2-4A9B-848F-014FFA2DA1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49727087"/>
        <c:axId val="1"/>
      </c:barChart>
      <c:catAx>
        <c:axId val="94972708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4972708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652305366591082E-2"/>
          <c:y val="2.5603151157065487E-2"/>
          <c:w val="0.96069538926681786"/>
          <c:h val="0.9487936976858690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6F8DB9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3D5-408F-ADA0-4DDA45058E5D}"/>
                </c:ext>
              </c:extLst>
            </c:dLbl>
            <c:dLbl>
              <c:idx val="1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3D5-408F-ADA0-4DDA45058E5D}"/>
                </c:ext>
              </c:extLst>
            </c:dLbl>
            <c:dLbl>
              <c:idx val="2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3D5-408F-ADA0-4DDA45058E5D}"/>
                </c:ext>
              </c:extLst>
            </c:dLbl>
            <c:dLbl>
              <c:idx val="3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3D5-408F-ADA0-4DDA45058E5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7.5581395348837201</c:v>
                </c:pt>
                <c:pt idx="1">
                  <c:v>8.3870967741935498</c:v>
                </c:pt>
                <c:pt idx="2">
                  <c:v>15.671641791044777</c:v>
                </c:pt>
                <c:pt idx="3">
                  <c:v>15.0943396226415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3D5-408F-ADA0-4DDA45058E5D}"/>
            </c:ext>
          </c:extLst>
        </c:ser>
        <c:ser>
          <c:idx val="1"/>
          <c:order val="1"/>
          <c:spPr>
            <a:solidFill>
              <a:srgbClr val="9DB1C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3D5-408F-ADA0-4DDA45058E5D}"/>
                </c:ext>
              </c:extLst>
            </c:dLbl>
            <c:dLbl>
              <c:idx val="1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3D5-408F-ADA0-4DDA45058E5D}"/>
                </c:ext>
              </c:extLst>
            </c:dLbl>
            <c:dLbl>
              <c:idx val="2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03D5-408F-ADA0-4DDA45058E5D}"/>
                </c:ext>
              </c:extLst>
            </c:dLbl>
            <c:dLbl>
              <c:idx val="3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03D5-408F-ADA0-4DDA45058E5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30.232558139534881</c:v>
                </c:pt>
                <c:pt idx="1">
                  <c:v>27.096774193548391</c:v>
                </c:pt>
                <c:pt idx="2">
                  <c:v>32.835820895522389</c:v>
                </c:pt>
                <c:pt idx="3">
                  <c:v>45.2830188679245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03D5-408F-ADA0-4DDA45058E5D}"/>
            </c:ext>
          </c:extLst>
        </c:ser>
        <c:ser>
          <c:idx val="2"/>
          <c:order val="2"/>
          <c:spPr>
            <a:solidFill>
              <a:srgbClr val="C3CFE1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03D5-408F-ADA0-4DDA45058E5D}"/>
                </c:ext>
              </c:extLst>
            </c:dLbl>
            <c:dLbl>
              <c:idx val="1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03D5-408F-ADA0-4DDA45058E5D}"/>
                </c:ext>
              </c:extLst>
            </c:dLbl>
            <c:dLbl>
              <c:idx val="2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03D5-408F-ADA0-4DDA45058E5D}"/>
                </c:ext>
              </c:extLst>
            </c:dLbl>
            <c:dLbl>
              <c:idx val="3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03D5-408F-ADA0-4DDA45058E5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37.790697674418603</c:v>
                </c:pt>
                <c:pt idx="1">
                  <c:v>30.967741935483872</c:v>
                </c:pt>
                <c:pt idx="2">
                  <c:v>17.910447761194032</c:v>
                </c:pt>
                <c:pt idx="3">
                  <c:v>23.8993710691823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03D5-408F-ADA0-4DDA45058E5D}"/>
            </c:ext>
          </c:extLst>
        </c:ser>
        <c:ser>
          <c:idx val="3"/>
          <c:order val="3"/>
          <c:spPr>
            <a:solidFill>
              <a:srgbClr val="DFE5E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03D5-408F-ADA0-4DDA45058E5D}"/>
                </c:ext>
              </c:extLst>
            </c:dLbl>
            <c:dLbl>
              <c:idx val="1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03D5-408F-ADA0-4DDA45058E5D}"/>
                </c:ext>
              </c:extLst>
            </c:dLbl>
            <c:dLbl>
              <c:idx val="2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03D5-408F-ADA0-4DDA45058E5D}"/>
                </c:ext>
              </c:extLst>
            </c:dLbl>
            <c:dLbl>
              <c:idx val="3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03D5-408F-ADA0-4DDA45058E5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D$4</c:f>
              <c:numCache>
                <c:formatCode>General</c:formatCode>
                <c:ptCount val="4"/>
                <c:pt idx="0">
                  <c:v>24.418604651162788</c:v>
                </c:pt>
                <c:pt idx="1">
                  <c:v>33.548387096774192</c:v>
                </c:pt>
                <c:pt idx="2">
                  <c:v>33.582089552238806</c:v>
                </c:pt>
                <c:pt idx="3">
                  <c:v>15.7232704402515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03D5-408F-ADA0-4DDA45058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49725007"/>
        <c:axId val="1"/>
      </c:barChart>
      <c:catAx>
        <c:axId val="94972500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4972500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652305366591082E-2"/>
          <c:y val="2.5603151157065487E-2"/>
          <c:w val="0.96069538926681786"/>
          <c:h val="0.9487936976858690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6F8DB9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538-4A04-BA37-2FA6DE5D33C9}"/>
                </c:ext>
              </c:extLst>
            </c:dLbl>
            <c:dLbl>
              <c:idx val="1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538-4A04-BA37-2FA6DE5D33C9}"/>
                </c:ext>
              </c:extLst>
            </c:dLbl>
            <c:dLbl>
              <c:idx val="2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538-4A04-BA37-2FA6DE5D33C9}"/>
                </c:ext>
              </c:extLst>
            </c:dLbl>
            <c:dLbl>
              <c:idx val="3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538-4A04-BA37-2FA6DE5D33C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0</c:v>
                </c:pt>
                <c:pt idx="1">
                  <c:v>8.6805555555555554</c:v>
                </c:pt>
                <c:pt idx="2">
                  <c:v>13.200000000000001</c:v>
                </c:pt>
                <c:pt idx="3">
                  <c:v>7.36434108527131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538-4A04-BA37-2FA6DE5D33C9}"/>
            </c:ext>
          </c:extLst>
        </c:ser>
        <c:ser>
          <c:idx val="1"/>
          <c:order val="1"/>
          <c:spPr>
            <a:solidFill>
              <a:srgbClr val="9DB1C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538-4A04-BA37-2FA6DE5D33C9}"/>
                </c:ext>
              </c:extLst>
            </c:dLbl>
            <c:dLbl>
              <c:idx val="1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7538-4A04-BA37-2FA6DE5D33C9}"/>
                </c:ext>
              </c:extLst>
            </c:dLbl>
            <c:dLbl>
              <c:idx val="2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7538-4A04-BA37-2FA6DE5D33C9}"/>
                </c:ext>
              </c:extLst>
            </c:dLbl>
            <c:dLbl>
              <c:idx val="3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7538-4A04-BA37-2FA6DE5D33C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4.827586206896555</c:v>
                </c:pt>
                <c:pt idx="1">
                  <c:v>25.347222222222221</c:v>
                </c:pt>
                <c:pt idx="2">
                  <c:v>24</c:v>
                </c:pt>
                <c:pt idx="3">
                  <c:v>27.1317829457364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538-4A04-BA37-2FA6DE5D33C9}"/>
            </c:ext>
          </c:extLst>
        </c:ser>
        <c:ser>
          <c:idx val="2"/>
          <c:order val="2"/>
          <c:spPr>
            <a:solidFill>
              <a:srgbClr val="C3CFE1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7538-4A04-BA37-2FA6DE5D33C9}"/>
                </c:ext>
              </c:extLst>
            </c:dLbl>
            <c:dLbl>
              <c:idx val="1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7538-4A04-BA37-2FA6DE5D33C9}"/>
                </c:ext>
              </c:extLst>
            </c:dLbl>
            <c:dLbl>
              <c:idx val="2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7538-4A04-BA37-2FA6DE5D33C9}"/>
                </c:ext>
              </c:extLst>
            </c:dLbl>
            <c:dLbl>
              <c:idx val="3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7538-4A04-BA37-2FA6DE5D33C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31.379310344827584</c:v>
                </c:pt>
                <c:pt idx="1">
                  <c:v>29.513888888888896</c:v>
                </c:pt>
                <c:pt idx="2">
                  <c:v>34.799999999999997</c:v>
                </c:pt>
                <c:pt idx="3">
                  <c:v>33.3333333333333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7538-4A04-BA37-2FA6DE5D33C9}"/>
            </c:ext>
          </c:extLst>
        </c:ser>
        <c:ser>
          <c:idx val="3"/>
          <c:order val="3"/>
          <c:spPr>
            <a:solidFill>
              <a:srgbClr val="DFE5E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7538-4A04-BA37-2FA6DE5D33C9}"/>
                </c:ext>
              </c:extLst>
            </c:dLbl>
            <c:dLbl>
              <c:idx val="1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7538-4A04-BA37-2FA6DE5D33C9}"/>
                </c:ext>
              </c:extLst>
            </c:dLbl>
            <c:dLbl>
              <c:idx val="2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7538-4A04-BA37-2FA6DE5D33C9}"/>
                </c:ext>
              </c:extLst>
            </c:dLbl>
            <c:dLbl>
              <c:idx val="3"/>
              <c:layout>
                <c:manualLayout>
                  <c:x val="0"/>
                  <c:y val="-1.477104874446085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7538-4A04-BA37-2FA6DE5D33C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D$4</c:f>
              <c:numCache>
                <c:formatCode>General</c:formatCode>
                <c:ptCount val="4"/>
                <c:pt idx="0">
                  <c:v>33.793103448275865</c:v>
                </c:pt>
                <c:pt idx="1">
                  <c:v>36.458333333333329</c:v>
                </c:pt>
                <c:pt idx="2">
                  <c:v>28.000000000000004</c:v>
                </c:pt>
                <c:pt idx="3">
                  <c:v>32.1705426356589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7538-4A04-BA37-2FA6DE5D33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49759535"/>
        <c:axId val="1"/>
      </c:barChart>
      <c:catAx>
        <c:axId val="9497595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4975953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CCC29D-C729-694F-A788-B5007BCA57F6}" type="datetimeFigureOut">
              <a:rPr lang="en-US" smtClean="0"/>
              <a:t>5/25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40BB66-2831-4C42-9675-9DAB39629B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00430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AAFD53-F29D-C94E-BF8B-0D8B7431C954}" type="datetimeFigureOut">
              <a:rPr lang="en-US" smtClean="0"/>
              <a:t>5/25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164E42-DED0-9246-9B1B-B67105F62D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391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164E42-DED0-9246-9B1B-B67105F62D4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63350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9.png"/><Relationship Id="rId3" Type="http://schemas.openxmlformats.org/officeDocument/2006/relationships/hyperlink" Target="https://www.facebook.com/aaltobiz/" TargetMode="External"/><Relationship Id="rId7" Type="http://schemas.openxmlformats.org/officeDocument/2006/relationships/hyperlink" Target="https://twitter.com/AaltoBIZ" TargetMode="External"/><Relationship Id="rId12" Type="http://schemas.openxmlformats.org/officeDocument/2006/relationships/image" Target="../media/image8.png"/><Relationship Id="rId2" Type="http://schemas.openxmlformats.org/officeDocument/2006/relationships/hyperlink" Target="http://biz.aalto.fi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11" Type="http://schemas.openxmlformats.org/officeDocument/2006/relationships/hyperlink" Target="http://www.aalto.fi/snapchat/" TargetMode="External"/><Relationship Id="rId5" Type="http://schemas.openxmlformats.org/officeDocument/2006/relationships/hyperlink" Target="https://www.instagram.com/aaltouniversity/" TargetMode="External"/><Relationship Id="rId10" Type="http://schemas.openxmlformats.org/officeDocument/2006/relationships/image" Target="../media/image7.png"/><Relationship Id="rId4" Type="http://schemas.openxmlformats.org/officeDocument/2006/relationships/image" Target="../media/image4.png"/><Relationship Id="rId9" Type="http://schemas.openxmlformats.org/officeDocument/2006/relationships/hyperlink" Target="https://www.youtube.com/user/aaltouniversity" TargetMode="External"/><Relationship Id="rId14" Type="http://schemas.openxmlformats.org/officeDocument/2006/relationships/image" Target="../media/image1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7.wmf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.bin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w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w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w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w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w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w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w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w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Header Slide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431800" y="1638135"/>
            <a:ext cx="7948556" cy="663264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1800" y="2571750"/>
            <a:ext cx="7998597" cy="501388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2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No Image - Sub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5966372" y="4215388"/>
            <a:ext cx="2464025" cy="2944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3" hasCustomPrompt="1"/>
          </p:nvPr>
        </p:nvSpPr>
        <p:spPr>
          <a:xfrm>
            <a:off x="5966372" y="4509807"/>
            <a:ext cx="2464025" cy="2944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4" name="Kuva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66" y="3501900"/>
            <a:ext cx="1850304" cy="1641600"/>
          </a:xfrm>
          <a:prstGeom prst="rect">
            <a:avLst/>
          </a:prstGeom>
        </p:spPr>
      </p:pic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95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Body slide - Text - Full blee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4"/>
          <p:cNvSpPr/>
          <p:nvPr userDrawn="1"/>
        </p:nvSpPr>
        <p:spPr>
          <a:xfrm>
            <a:off x="-1066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87339" y="1347789"/>
            <a:ext cx="4150122" cy="293891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100" b="1" smtClean="0">
                <a:solidFill>
                  <a:srgbClr val="FFFFFF"/>
                </a:solidFill>
              </a:defRPr>
            </a:lvl1pPr>
            <a:lvl2pPr marL="628650" indent="-285750">
              <a:buFont typeface="Arial" panose="020B0604020202020204" pitchFamily="34" charset="0"/>
              <a:buChar char="•"/>
              <a:defRPr sz="2100">
                <a:solidFill>
                  <a:srgbClr val="FFFFFF"/>
                </a:solidFill>
              </a:defRPr>
            </a:lvl2pPr>
            <a:lvl3pPr marL="804863" indent="-176213">
              <a:buFont typeface="Arial" panose="020B0604020202020204" pitchFamily="34" charset="0"/>
              <a:buChar char="•"/>
              <a:defRPr sz="1600">
                <a:solidFill>
                  <a:srgbClr val="FFFFFF"/>
                </a:solidFill>
              </a:defRPr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Your text her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87338" y="21510"/>
            <a:ext cx="8497093" cy="11534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Body slide tit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4706540" y="1347788"/>
            <a:ext cx="4077891" cy="294060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000" b="1">
                <a:solidFill>
                  <a:srgbClr val="FFFFFF"/>
                </a:solidFill>
              </a:defRPr>
            </a:lvl1pPr>
            <a:lvl2pPr marL="628650" indent="-285750">
              <a:buFont typeface="Arial" panose="020B0604020202020204" pitchFamily="34" charset="0"/>
              <a:buChar char="•"/>
              <a:defRPr sz="2100">
                <a:solidFill>
                  <a:srgbClr val="FFFFFF"/>
                </a:solidFill>
              </a:defRPr>
            </a:lvl2pPr>
            <a:lvl3pPr marL="804863" indent="-176213">
              <a:buFont typeface="Arial" panose="020B0604020202020204" pitchFamily="34" charset="0"/>
              <a:buChar char="•"/>
              <a:defRPr sz="1600">
                <a:solidFill>
                  <a:srgbClr val="FFFFFF"/>
                </a:solidFill>
              </a:defRPr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Your text here</a:t>
            </a:r>
          </a:p>
        </p:txBody>
      </p:sp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62DDC196-D49A-4DB6-A68D-238E3C73DA3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/>
              <a:t>dd.mm.yyyy</a:t>
            </a:r>
            <a:endParaRPr lang="en-US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51265EED-F2E6-43DA-B5C9-706015FF2F7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 err="1"/>
              <a:t>Your</a:t>
            </a:r>
            <a:r>
              <a:rPr lang="fi-FI" dirty="0"/>
              <a:t> text </a:t>
            </a:r>
            <a:r>
              <a:rPr lang="fi-FI" dirty="0" err="1"/>
              <a:t>here</a:t>
            </a:r>
            <a:endParaRPr lang="fi-FI" dirty="0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E5011BD5-68CE-472A-A314-532B85BA474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Kuva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1580"/>
            <a:ext cx="1991440" cy="856800"/>
          </a:xfrm>
          <a:prstGeom prst="rect">
            <a:avLst/>
          </a:prstGeom>
        </p:spPr>
      </p:pic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2795" userDrawn="1">
          <p15:clr>
            <a:srgbClr val="FBAE40"/>
          </p15:clr>
        </p15:guide>
        <p15:guide id="2" pos="2965" userDrawn="1">
          <p15:clr>
            <a:srgbClr val="FBAE40"/>
          </p15:clr>
        </p15:guide>
        <p15:guide id="3" orient="horz" pos="849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Body slide -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87338" y="28435"/>
            <a:ext cx="8497093" cy="1007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Body slide title </a:t>
            </a:r>
          </a:p>
        </p:txBody>
      </p:sp>
      <p:sp>
        <p:nvSpPr>
          <p:cNvPr id="6" name="Table Placeholder 12">
            <a:extLst>
              <a:ext uri="{FF2B5EF4-FFF2-40B4-BE49-F238E27FC236}">
                <a16:creationId xmlns:a16="http://schemas.microsoft.com/office/drawing/2014/main" id="{D90CC8CD-0F46-F240-AF4E-99DE2A9ECF91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287338" y="1208314"/>
            <a:ext cx="8497093" cy="307568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</a:t>
            </a:r>
            <a:r>
              <a:rPr lang="fi-FI" dirty="0" err="1"/>
              <a:t>icon</a:t>
            </a:r>
            <a:r>
              <a:rPr lang="fi-FI" dirty="0"/>
              <a:t> to </a:t>
            </a:r>
            <a:r>
              <a:rPr lang="fi-FI" dirty="0" err="1"/>
              <a:t>add</a:t>
            </a:r>
            <a:r>
              <a:rPr lang="fi-FI" dirty="0"/>
              <a:t> </a:t>
            </a:r>
            <a:r>
              <a:rPr lang="fi-FI" dirty="0" err="1"/>
              <a:t>table</a:t>
            </a:r>
            <a:endParaRPr lang="fi-FI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D4CDEE4-AFAC-4BB1-B02E-FDE939F20D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678800" y="4848629"/>
            <a:ext cx="2057400" cy="1728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32C686F0-0C1B-46BD-9DE7-A93BAA6AC89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78800" y="4672740"/>
            <a:ext cx="2057400" cy="1758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fi-FI"/>
              <a:t>dd.mm.yyyy</a:t>
            </a:r>
            <a:endParaRPr lang="en-US" dirty="0"/>
          </a:p>
        </p:txBody>
      </p:sp>
      <p:sp>
        <p:nvSpPr>
          <p:cNvPr id="9" name="Alatunnisteen paikkamerkki 1">
            <a:extLst>
              <a:ext uri="{FF2B5EF4-FFF2-40B4-BE49-F238E27FC236}">
                <a16:creationId xmlns:a16="http://schemas.microsoft.com/office/drawing/2014/main" id="{4338FCB4-9412-423F-84B9-91EDDBA250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849200"/>
            <a:ext cx="3086100" cy="17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fi-FI" dirty="0" err="1"/>
              <a:t>Your</a:t>
            </a:r>
            <a:r>
              <a:rPr lang="fi-FI" dirty="0"/>
              <a:t> text </a:t>
            </a:r>
            <a:r>
              <a:rPr lang="fi-FI" dirty="0" err="1"/>
              <a:t>here</a:t>
            </a:r>
            <a:endParaRPr lang="fi-FI" dirty="0"/>
          </a:p>
        </p:txBody>
      </p:sp>
      <p:pic>
        <p:nvPicPr>
          <p:cNvPr id="13" name="Kuva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8790"/>
            <a:ext cx="2073704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5641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100" userDrawn="1">
          <p15:clr>
            <a:srgbClr val="FBAE40"/>
          </p15:clr>
        </p15:guide>
        <p15:guide id="4" pos="5534" userDrawn="1">
          <p15:clr>
            <a:srgbClr val="FBAE40"/>
          </p15:clr>
        </p15:guide>
        <p15:guide id="5" orient="horz" pos="327" userDrawn="1">
          <p15:clr>
            <a:srgbClr val="FBAE40"/>
          </p15:clr>
        </p15:guide>
        <p15:guide id="6" pos="2795" userDrawn="1">
          <p15:clr>
            <a:srgbClr val="FBAE40"/>
          </p15:clr>
        </p15:guide>
        <p15:guide id="7" pos="2965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. Body slide - 2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able Placeholder 12">
            <a:extLst>
              <a:ext uri="{FF2B5EF4-FFF2-40B4-BE49-F238E27FC236}">
                <a16:creationId xmlns:a16="http://schemas.microsoft.com/office/drawing/2014/main" id="{BBBD8CFA-2274-400B-84ED-AD95B6C224E6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287338" y="1198547"/>
            <a:ext cx="5486014" cy="14437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</a:t>
            </a:r>
            <a:r>
              <a:rPr lang="fi-FI" dirty="0" err="1"/>
              <a:t>icon</a:t>
            </a:r>
            <a:r>
              <a:rPr lang="fi-FI" dirty="0"/>
              <a:t> to </a:t>
            </a:r>
            <a:r>
              <a:rPr lang="fi-FI" dirty="0" err="1"/>
              <a:t>add</a:t>
            </a:r>
            <a:r>
              <a:rPr lang="fi-FI" dirty="0"/>
              <a:t> </a:t>
            </a:r>
            <a:r>
              <a:rPr lang="fi-FI" dirty="0" err="1"/>
              <a:t>table</a:t>
            </a:r>
            <a:endParaRPr lang="fi-FI" dirty="0"/>
          </a:p>
        </p:txBody>
      </p:sp>
      <p:sp>
        <p:nvSpPr>
          <p:cNvPr id="13" name="Table Placeholder 12">
            <a:extLst>
              <a:ext uri="{FF2B5EF4-FFF2-40B4-BE49-F238E27FC236}">
                <a16:creationId xmlns:a16="http://schemas.microsoft.com/office/drawing/2014/main" id="{93B047F6-3228-402F-9203-526F72E0AFAD}"/>
              </a:ext>
            </a:extLst>
          </p:cNvPr>
          <p:cNvSpPr>
            <a:spLocks noGrp="1"/>
          </p:cNvSpPr>
          <p:nvPr>
            <p:ph type="tbl" sz="quarter" idx="12" hasCustomPrompt="1"/>
          </p:nvPr>
        </p:nvSpPr>
        <p:spPr>
          <a:xfrm>
            <a:off x="287338" y="2803849"/>
            <a:ext cx="5486014" cy="14801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baseline="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</a:t>
            </a:r>
            <a:r>
              <a:rPr lang="fi-FI" dirty="0" err="1"/>
              <a:t>icon</a:t>
            </a:r>
            <a:r>
              <a:rPr lang="fi-FI" dirty="0"/>
              <a:t> to </a:t>
            </a:r>
            <a:r>
              <a:rPr lang="fi-FI" dirty="0" err="1"/>
              <a:t>add</a:t>
            </a:r>
            <a:r>
              <a:rPr lang="fi-FI" dirty="0"/>
              <a:t> </a:t>
            </a:r>
            <a:r>
              <a:rPr lang="fi-FI" dirty="0" err="1"/>
              <a:t>table</a:t>
            </a:r>
            <a:endParaRPr lang="fi-FI" dirty="0"/>
          </a:p>
        </p:txBody>
      </p:sp>
      <p:sp>
        <p:nvSpPr>
          <p:cNvPr id="2" name="Suorakulmio 1"/>
          <p:cNvSpPr/>
          <p:nvPr userDrawn="1"/>
        </p:nvSpPr>
        <p:spPr>
          <a:xfrm>
            <a:off x="6288119" y="1198545"/>
            <a:ext cx="2167128" cy="31120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87338" y="27451"/>
            <a:ext cx="8167909" cy="10095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Body slide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84722C4-26CA-4157-95A3-B7176EEF8B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8279" y="1450909"/>
            <a:ext cx="1624668" cy="26235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lang="en-US" sz="1700" b="1" kern="1200" dirty="0" smtClean="0">
                <a:solidFill>
                  <a:schemeClr val="bg1"/>
                </a:solidFill>
                <a:latin typeface="+mn-lt"/>
                <a:ea typeface="Arial Hebrew Scholar" charset="-79"/>
                <a:cs typeface="Arial Hebrew Scholar" charset="-79"/>
              </a:defRPr>
            </a:lvl1pPr>
            <a:lvl2pPr>
              <a:defRPr lang="en-US" sz="1500" b="1" kern="1200" dirty="0" smtClean="0">
                <a:solidFill>
                  <a:schemeClr val="bg1"/>
                </a:solidFill>
                <a:latin typeface="+mn-lt"/>
                <a:ea typeface="Arial Hebrew Scholar" charset="-79"/>
                <a:cs typeface="Arial Hebrew Scholar" charset="-79"/>
              </a:defRPr>
            </a:lvl2pPr>
            <a:lvl3pPr>
              <a:defRPr lang="en-US" sz="1500" b="1" kern="1200" dirty="0" smtClean="0">
                <a:solidFill>
                  <a:schemeClr val="bg1"/>
                </a:solidFill>
                <a:latin typeface="+mn-lt"/>
                <a:ea typeface="Arial Hebrew Scholar" charset="-79"/>
                <a:cs typeface="Arial Hebrew Scholar" charset="-79"/>
              </a:defRPr>
            </a:lvl3pPr>
            <a:lvl4pPr>
              <a:defRPr lang="en-US" sz="1500" b="1" kern="1200" dirty="0" smtClean="0">
                <a:solidFill>
                  <a:schemeClr val="bg1"/>
                </a:solidFill>
                <a:latin typeface="+mn-lt"/>
                <a:ea typeface="Arial Hebrew Scholar" charset="-79"/>
                <a:cs typeface="Arial Hebrew Scholar" charset="-79"/>
              </a:defRPr>
            </a:lvl4pPr>
            <a:lvl5pPr>
              <a:defRPr lang="fi-FI" sz="1500" b="1" kern="1200" dirty="0">
                <a:solidFill>
                  <a:schemeClr val="bg1"/>
                </a:solidFill>
                <a:latin typeface="+mn-lt"/>
                <a:ea typeface="Arial Hebrew Scholar" charset="-79"/>
                <a:cs typeface="Arial Hebrew Scholar" charset="-79"/>
              </a:defRPr>
            </a:lvl5pPr>
          </a:lstStyle>
          <a:p>
            <a:pPr lvl="0"/>
            <a:r>
              <a:rPr lang="en-US" dirty="0"/>
              <a:t>Insert text her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ADAB2CE-4212-44E9-B137-C1C680FB61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678800" y="4848629"/>
            <a:ext cx="2057400" cy="1728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F4E096FB-FCA1-4B5C-ACD6-0CEFB3F917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78800" y="4672740"/>
            <a:ext cx="2057400" cy="1758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fi-FI"/>
              <a:t>dd.mm.yyyy</a:t>
            </a:r>
            <a:endParaRPr lang="en-US" dirty="0"/>
          </a:p>
        </p:txBody>
      </p:sp>
      <p:sp>
        <p:nvSpPr>
          <p:cNvPr id="15" name="Alatunnisteen paikkamerkki 1">
            <a:extLst>
              <a:ext uri="{FF2B5EF4-FFF2-40B4-BE49-F238E27FC236}">
                <a16:creationId xmlns:a16="http://schemas.microsoft.com/office/drawing/2014/main" id="{3C30B25E-7918-4E31-B8C8-B2EDDFA118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849200"/>
            <a:ext cx="3086100" cy="17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fi-FI" dirty="0" err="1"/>
              <a:t>Your</a:t>
            </a:r>
            <a:r>
              <a:rPr lang="fi-FI" dirty="0"/>
              <a:t> text </a:t>
            </a:r>
            <a:r>
              <a:rPr lang="fi-FI" dirty="0" err="1"/>
              <a:t>here</a:t>
            </a:r>
            <a:endParaRPr lang="fi-FI" dirty="0"/>
          </a:p>
        </p:txBody>
      </p:sp>
      <p:pic>
        <p:nvPicPr>
          <p:cNvPr id="18" name="Kuva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8790"/>
            <a:ext cx="2073704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3047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3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Body slide - Black and red text -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6B642BD-45BB-4F77-82AA-AE37473CB2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678800" y="4848629"/>
            <a:ext cx="2057400" cy="1728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81652838-FE86-4ABD-9F9D-AFD4E96BB5D0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6678800" y="4672740"/>
            <a:ext cx="2057400" cy="1758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fi-FI"/>
              <a:t>dd.mm.yyyy</a:t>
            </a:r>
            <a:endParaRPr lang="en-US" dirty="0"/>
          </a:p>
        </p:txBody>
      </p:sp>
      <p:sp>
        <p:nvSpPr>
          <p:cNvPr id="12" name="Alatunnisteen paikkamerkki 1">
            <a:extLst>
              <a:ext uri="{FF2B5EF4-FFF2-40B4-BE49-F238E27FC236}">
                <a16:creationId xmlns:a16="http://schemas.microsoft.com/office/drawing/2014/main" id="{0B96DB4D-EBEA-407A-A811-A01FA90FCD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849200"/>
            <a:ext cx="3086100" cy="17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fi-FI" dirty="0" err="1"/>
              <a:t>Your</a:t>
            </a:r>
            <a:r>
              <a:rPr lang="fi-FI" dirty="0"/>
              <a:t> text </a:t>
            </a:r>
            <a:r>
              <a:rPr lang="fi-FI" dirty="0" err="1"/>
              <a:t>here</a:t>
            </a:r>
            <a:endParaRPr lang="fi-FI" dirty="0"/>
          </a:p>
        </p:txBody>
      </p:sp>
      <p:sp>
        <p:nvSpPr>
          <p:cNvPr id="6" name="Chart Placeholder 2">
            <a:extLst>
              <a:ext uri="{FF2B5EF4-FFF2-40B4-BE49-F238E27FC236}">
                <a16:creationId xmlns:a16="http://schemas.microsoft.com/office/drawing/2014/main" id="{09161BE7-F8D2-4ACD-83CC-1D9839ED404B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3654028" y="519112"/>
            <a:ext cx="5130403" cy="4153628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1">
                <a:solidFill>
                  <a:schemeClr val="tx1">
                    <a:alpha val="17000"/>
                  </a:schemeClr>
                </a:solidFill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</a:t>
            </a:r>
            <a:r>
              <a:rPr lang="fi-FI" dirty="0" err="1"/>
              <a:t>icon</a:t>
            </a:r>
            <a:r>
              <a:rPr lang="fi-FI" dirty="0"/>
              <a:t> to </a:t>
            </a:r>
            <a:r>
              <a:rPr lang="fi-FI" dirty="0" err="1"/>
              <a:t>add</a:t>
            </a:r>
            <a:r>
              <a:rPr lang="fi-FI" dirty="0"/>
              <a:t> </a:t>
            </a:r>
            <a:r>
              <a:rPr lang="fi-FI" dirty="0" err="1"/>
              <a:t>chart</a:t>
            </a:r>
            <a:endParaRPr lang="fi-FI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BF71F6C-31BF-8A4F-AA9D-13A108C26B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87339" y="2615909"/>
            <a:ext cx="3015455" cy="16680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i="0" baseline="0">
                <a:solidFill>
                  <a:schemeClr val="tx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Sub Headlin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818ADAA-0D73-2649-A90F-A489016A1095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287339" y="394855"/>
            <a:ext cx="3015456" cy="18722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tx2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Body slide title</a:t>
            </a:r>
          </a:p>
        </p:txBody>
      </p:sp>
      <p:pic>
        <p:nvPicPr>
          <p:cNvPr id="15" name="Kuva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8790"/>
            <a:ext cx="2073704" cy="856800"/>
          </a:xfrm>
          <a:prstGeom prst="rect">
            <a:avLst/>
          </a:prstGeom>
        </p:spPr>
      </p:pic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2081" userDrawn="1">
          <p15:clr>
            <a:srgbClr val="FBAE40"/>
          </p15:clr>
        </p15:guide>
        <p15:guide id="2" pos="2302" userDrawn="1">
          <p15:clr>
            <a:srgbClr val="FBAE40"/>
          </p15:clr>
        </p15:guide>
        <p15:guide id="3" pos="553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Process slide - Re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94503" y="27708"/>
            <a:ext cx="8489928" cy="99589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Body slide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836A9AB-7FD4-4A4D-8EF5-3255560CFB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0831" y="2534491"/>
            <a:ext cx="1539000" cy="1753903"/>
          </a:xfrm>
          <a:prstGeom prst="rect">
            <a:avLst/>
          </a:prstGeom>
        </p:spPr>
        <p:txBody>
          <a:bodyPr lIns="0" tIns="0" rIns="0" bIns="0"/>
          <a:lstStyle>
            <a:lvl1pPr marL="81000" indent="-81000" algn="l" defTabSz="514436" rtl="0" eaLnBrk="1" latinLnBrk="0" hangingPunct="1">
              <a:lnSpc>
                <a:spcPct val="100000"/>
              </a:lnSpc>
              <a:buFont typeface="Arial" charset="0"/>
              <a:buChar char="•"/>
              <a:defRPr sz="1400" b="1">
                <a:solidFill>
                  <a:schemeClr val="bg1"/>
                </a:solidFill>
              </a:defRPr>
            </a:lvl1pPr>
            <a:lvl2pPr marL="0" indent="0">
              <a:lnSpc>
                <a:spcPts val="1500"/>
              </a:lnSpc>
              <a:buNone/>
              <a:defRPr lang="en-US" sz="1350" b="1" kern="120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2pPr>
            <a:lvl3pPr>
              <a:buClr>
                <a:schemeClr val="bg1"/>
              </a:buClr>
              <a:defRPr sz="788">
                <a:solidFill>
                  <a:schemeClr val="bg1"/>
                </a:solidFill>
              </a:defRPr>
            </a:lvl3pPr>
          </a:lstStyle>
          <a:p>
            <a:pPr marL="81000" lvl="0" indent="-81000" algn="l" defTabSz="514436" rtl="0" eaLnBrk="1" latinLnBrk="0" hangingPunct="1">
              <a:lnSpc>
                <a:spcPts val="975"/>
              </a:lnSpc>
              <a:buFont typeface="Arial" charset="0"/>
              <a:buChar char="•"/>
            </a:pPr>
            <a:r>
              <a:rPr lang="fi-FI" dirty="0"/>
              <a:t>Add text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89987C57-966C-4855-9310-5E356BB3CB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39978" y="2536756"/>
            <a:ext cx="1539000" cy="2007182"/>
          </a:xfrm>
          <a:prstGeom prst="rect">
            <a:avLst/>
          </a:prstGeom>
        </p:spPr>
        <p:txBody>
          <a:bodyPr lIns="0" tIns="0" rIns="0" bIns="0"/>
          <a:lstStyle>
            <a:lvl1pPr marL="81000" marR="0" indent="-81000" algn="l" defTabSz="514436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  <a:lvl2pPr marL="128588" indent="-128588">
              <a:lnSpc>
                <a:spcPts val="1600"/>
              </a:lnSpc>
              <a:buClr>
                <a:schemeClr val="bg1"/>
              </a:buClr>
              <a:defRPr lang="en-US" sz="1350" b="1" kern="120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2pPr>
          </a:lstStyle>
          <a:p>
            <a:pPr marL="81000" marR="0" lvl="0" indent="-81000" algn="l" defTabSz="514436" rtl="0" eaLnBrk="1" fontAlgn="auto" latinLnBrk="0" hangingPunct="1">
              <a:lnSpc>
                <a:spcPts val="975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fi-FI" dirty="0"/>
              <a:t>Add text</a:t>
            </a:r>
          </a:p>
          <a:p>
            <a:pPr marL="81000" lvl="0" indent="-81000" algn="l" defTabSz="514436" rtl="0" eaLnBrk="1" latinLnBrk="0" hangingPunct="1">
              <a:lnSpc>
                <a:spcPts val="975"/>
              </a:lnSpc>
              <a:buFont typeface="Arial" charset="0"/>
              <a:buChar char="•"/>
            </a:pPr>
            <a:endParaRPr lang="fi-FI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EAC2BD28-BA40-4C62-9684-204677B491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0020" y="1152407"/>
            <a:ext cx="1200623" cy="11934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1875" b="1" smtClean="0">
                <a:solidFill>
                  <a:schemeClr val="tx2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 dirty="0"/>
              <a:t>2014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0E8425B5-2F4C-4E05-8123-3A8B01FC87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09168" y="1152407"/>
            <a:ext cx="1200623" cy="11934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1875" b="1" smtClean="0">
                <a:solidFill>
                  <a:schemeClr val="tx2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 dirty="0"/>
              <a:t>2015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DC20D224-7563-4C76-AD81-513A7C8829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3649" y="1152407"/>
            <a:ext cx="1200623" cy="11934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1875" b="1" smtClean="0">
                <a:solidFill>
                  <a:schemeClr val="tx2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 dirty="0"/>
              <a:t>2016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E06BCED4-D727-4040-AD5B-6450A58ED4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84135" y="1152407"/>
            <a:ext cx="1200623" cy="11934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1875" b="1" smtClean="0">
                <a:solidFill>
                  <a:schemeClr val="tx2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 dirty="0"/>
              <a:t>2017</a:t>
            </a:r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294EAA4E-E8D4-4CC5-BDD1-70053B25FE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14621" y="1152407"/>
            <a:ext cx="1200623" cy="11934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1875" b="1" smtClean="0">
                <a:solidFill>
                  <a:schemeClr val="tx2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 dirty="0"/>
              <a:t>2018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A827BBD5-9E69-4D6A-ACDE-EC26CFE2F6D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71501" y="2536756"/>
            <a:ext cx="1539000" cy="2007182"/>
          </a:xfrm>
          <a:prstGeom prst="rect">
            <a:avLst/>
          </a:prstGeom>
        </p:spPr>
        <p:txBody>
          <a:bodyPr lIns="0" tIns="0" rIns="0" bIns="0"/>
          <a:lstStyle>
            <a:lvl1pPr marL="81000" marR="0" indent="-81000" algn="l" defTabSz="514436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  <a:lvl2pPr marL="128588" indent="-128588">
              <a:lnSpc>
                <a:spcPts val="1600"/>
              </a:lnSpc>
              <a:buClr>
                <a:schemeClr val="bg1"/>
              </a:buClr>
              <a:defRPr lang="en-US" sz="1350" b="1" kern="120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2pPr>
          </a:lstStyle>
          <a:p>
            <a:pPr marL="81000" marR="0" lvl="0" indent="-81000" algn="l" defTabSz="514436" rtl="0" eaLnBrk="1" fontAlgn="auto" latinLnBrk="0" hangingPunct="1">
              <a:lnSpc>
                <a:spcPts val="975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fi-FI" dirty="0"/>
              <a:t>Add text</a:t>
            </a:r>
          </a:p>
          <a:p>
            <a:pPr marL="81000" lvl="0" indent="-81000" algn="l" defTabSz="514436" rtl="0" eaLnBrk="1" latinLnBrk="0" hangingPunct="1">
              <a:lnSpc>
                <a:spcPts val="975"/>
              </a:lnSpc>
              <a:buFont typeface="Arial" charset="0"/>
              <a:buChar char="•"/>
            </a:pPr>
            <a:endParaRPr lang="fi-FI" dirty="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1BA48B8B-BD2C-4A39-82AF-63EB5DF45D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515995" y="2536756"/>
            <a:ext cx="1539000" cy="2007182"/>
          </a:xfrm>
          <a:prstGeom prst="rect">
            <a:avLst/>
          </a:prstGeom>
        </p:spPr>
        <p:txBody>
          <a:bodyPr lIns="0" tIns="0" rIns="0" bIns="0"/>
          <a:lstStyle>
            <a:lvl1pPr marL="81000" marR="0" indent="-81000" algn="l" defTabSz="514436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  <a:lvl2pPr marL="128588" indent="-128588">
              <a:lnSpc>
                <a:spcPts val="1600"/>
              </a:lnSpc>
              <a:buClr>
                <a:schemeClr val="bg1"/>
              </a:buClr>
              <a:defRPr lang="en-US" sz="1350" b="1" kern="120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2pPr>
          </a:lstStyle>
          <a:p>
            <a:pPr marL="81000" marR="0" lvl="0" indent="-81000" algn="l" defTabSz="514436" rtl="0" eaLnBrk="1" fontAlgn="auto" latinLnBrk="0" hangingPunct="1">
              <a:lnSpc>
                <a:spcPts val="975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fi-FI" dirty="0"/>
              <a:t>Add text</a:t>
            </a:r>
          </a:p>
          <a:p>
            <a:pPr marL="81000" lvl="0" indent="-81000" algn="l" defTabSz="514436" rtl="0" eaLnBrk="1" latinLnBrk="0" hangingPunct="1">
              <a:lnSpc>
                <a:spcPts val="975"/>
              </a:lnSpc>
              <a:buFont typeface="Arial" charset="0"/>
              <a:buChar char="•"/>
            </a:pPr>
            <a:endParaRPr lang="fi-FI" dirty="0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FDACDC4A-3163-4169-8C73-15CC127E50C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247518" y="2536756"/>
            <a:ext cx="1539000" cy="2007182"/>
          </a:xfrm>
          <a:prstGeom prst="rect">
            <a:avLst/>
          </a:prstGeom>
        </p:spPr>
        <p:txBody>
          <a:bodyPr lIns="0" tIns="0" rIns="0" bIns="0"/>
          <a:lstStyle>
            <a:lvl1pPr marL="81000" marR="0" indent="-81000" algn="l" defTabSz="514436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  <a:lvl2pPr marL="128588" indent="-128588">
              <a:lnSpc>
                <a:spcPts val="1600"/>
              </a:lnSpc>
              <a:buClr>
                <a:schemeClr val="bg1"/>
              </a:buClr>
              <a:defRPr lang="en-US" sz="1350" b="1" kern="120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2pPr>
          </a:lstStyle>
          <a:p>
            <a:pPr marL="81000" marR="0" lvl="0" indent="-81000" algn="l" defTabSz="514436" rtl="0" eaLnBrk="1" fontAlgn="auto" latinLnBrk="0" hangingPunct="1">
              <a:lnSpc>
                <a:spcPts val="975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fi-FI" dirty="0"/>
              <a:t>Add text</a:t>
            </a:r>
          </a:p>
          <a:p>
            <a:pPr marL="81000" lvl="0" indent="-81000" algn="l" defTabSz="514436" rtl="0" eaLnBrk="1" latinLnBrk="0" hangingPunct="1">
              <a:lnSpc>
                <a:spcPts val="975"/>
              </a:lnSpc>
              <a:buFont typeface="Arial" charset="0"/>
              <a:buChar char="•"/>
            </a:pPr>
            <a:endParaRPr lang="fi-FI" dirty="0"/>
          </a:p>
        </p:txBody>
      </p:sp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17A6B884-331F-40FA-8908-119224136FDB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/>
              <a:t>dd.mm.yyyy</a:t>
            </a:r>
            <a:endParaRPr lang="en-US" dirty="0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A749CABA-9FF3-45EA-9953-7B719CB699D9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 err="1"/>
              <a:t>Your</a:t>
            </a:r>
            <a:r>
              <a:rPr lang="fi-FI" dirty="0"/>
              <a:t> text </a:t>
            </a:r>
            <a:r>
              <a:rPr lang="fi-FI" dirty="0" err="1"/>
              <a:t>here</a:t>
            </a:r>
            <a:endParaRPr lang="fi-FI" dirty="0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FF271C0B-E7D3-474B-A483-3CBA7656076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0" name="Kuva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1580"/>
            <a:ext cx="1991440" cy="856800"/>
          </a:xfrm>
          <a:prstGeom prst="rect">
            <a:avLst/>
          </a:prstGeom>
        </p:spPr>
      </p:pic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553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Process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D9F47391-4AC0-4F7E-BFA1-6D69FD7843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678800" y="4848629"/>
            <a:ext cx="2057400" cy="1728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FEF0705C-E100-4768-B5FA-237B27E15CFD}"/>
              </a:ext>
            </a:extLst>
          </p:cNvPr>
          <p:cNvSpPr>
            <a:spLocks noGrp="1"/>
          </p:cNvSpPr>
          <p:nvPr>
            <p:ph type="dt" sz="half" idx="25"/>
          </p:nvPr>
        </p:nvSpPr>
        <p:spPr>
          <a:xfrm>
            <a:off x="6678800" y="4672740"/>
            <a:ext cx="2057400" cy="1758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fi-FI"/>
              <a:t>dd.mm.yyyy</a:t>
            </a:r>
            <a:endParaRPr lang="en-US" dirty="0"/>
          </a:p>
        </p:txBody>
      </p:sp>
      <p:sp>
        <p:nvSpPr>
          <p:cNvPr id="17" name="Alatunnisteen paikkamerkki 1">
            <a:extLst>
              <a:ext uri="{FF2B5EF4-FFF2-40B4-BE49-F238E27FC236}">
                <a16:creationId xmlns:a16="http://schemas.microsoft.com/office/drawing/2014/main" id="{84C2D171-9BD9-4BE0-A001-56E7273902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849200"/>
            <a:ext cx="3086100" cy="17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fi-FI" dirty="0" err="1"/>
              <a:t>Your</a:t>
            </a:r>
            <a:r>
              <a:rPr lang="fi-FI" dirty="0"/>
              <a:t> text </a:t>
            </a:r>
            <a:r>
              <a:rPr lang="fi-FI" dirty="0" err="1"/>
              <a:t>here</a:t>
            </a:r>
            <a:endParaRPr lang="fi-FI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87338" y="28264"/>
            <a:ext cx="8497093" cy="1136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Body slide 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EAC2BD28-BA40-4C62-9684-204677B491A2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1754" y="1312197"/>
            <a:ext cx="864000" cy="85885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30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 dirty="0"/>
              <a:t>1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0E8425B5-2F4C-4E05-8123-3A8B01FC8702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2385879" y="1312197"/>
            <a:ext cx="864000" cy="85885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30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 dirty="0"/>
              <a:t>2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DC20D224-7563-4C76-AD81-513A7C8829B2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4126004" y="1312197"/>
            <a:ext cx="864000" cy="85885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30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 dirty="0"/>
              <a:t>3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E06BCED4-D727-4040-AD5B-6450A58ED4DF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5856800" y="1312197"/>
            <a:ext cx="864000" cy="85885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30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 dirty="0"/>
              <a:t>4</a:t>
            </a:r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294EAA4E-E8D4-4CC5-BDD1-70053B25FE63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7582931" y="1312197"/>
            <a:ext cx="864000" cy="85885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30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 dirty="0"/>
              <a:t>5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B20109F-4A5D-AF40-A937-1636D1D64A3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94254" y="2304305"/>
            <a:ext cx="1539000" cy="197969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400" b="1" smtClean="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Point 1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1A38691-037D-394F-800A-B98CC5204D3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2048379" y="2318301"/>
            <a:ext cx="1539000" cy="19657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400" b="1" smtClean="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Point 2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591022EE-194A-0147-A4C1-5527DCEE10B9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3788504" y="2318300"/>
            <a:ext cx="1539000" cy="196570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400" b="1" smtClean="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Point 3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59974140-1C49-A14E-96F4-B74CDFC7AA87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5519300" y="2318299"/>
            <a:ext cx="1539000" cy="196570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400" b="1" smtClean="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Point 4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5A54D1A0-56C3-904B-A447-7E1980F40DB9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7245431" y="2318299"/>
            <a:ext cx="1539000" cy="1965704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400" b="1" smtClean="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Point 4</a:t>
            </a:r>
          </a:p>
        </p:txBody>
      </p:sp>
      <p:pic>
        <p:nvPicPr>
          <p:cNvPr id="19" name="Kuva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8790"/>
            <a:ext cx="2073704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0487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3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Closing slide - Red - Social media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6450" y="0"/>
            <a:ext cx="9160449" cy="51435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20"/>
          </a:p>
        </p:txBody>
      </p:sp>
      <p:sp>
        <p:nvSpPr>
          <p:cNvPr id="12" name="Otsikko 1">
            <a:hlinkClick r:id="rId2"/>
          </p:cNvPr>
          <p:cNvSpPr txBox="1">
            <a:spLocks/>
          </p:cNvSpPr>
          <p:nvPr userDrawn="1"/>
        </p:nvSpPr>
        <p:spPr>
          <a:xfrm>
            <a:off x="3717365" y="3568351"/>
            <a:ext cx="1709289" cy="36435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 defTabSz="457200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 kern="1200" spc="-100">
                <a:solidFill>
                  <a:srgbClr val="FFFFFF"/>
                </a:solidFill>
                <a:latin typeface="+mj-lt"/>
                <a:ea typeface="ＭＳ Ｐゴシック" charset="0"/>
                <a:cs typeface="MS PGothic" pitchFamily="34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charset="0"/>
                <a:cs typeface="MS PGothic" pitchFamily="34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charset="0"/>
                <a:cs typeface="MS PGothic" pitchFamily="34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charset="0"/>
                <a:cs typeface="MS PGothic" pitchFamily="34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charset="0"/>
                <a:cs typeface="MS PGothic" pitchFamily="34" charset="-128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9pPr>
          </a:lstStyle>
          <a:p>
            <a:pPr algn="ctr"/>
            <a:r>
              <a:rPr lang="fi-FI" sz="1800" spc="0" baseline="0" dirty="0">
                <a:latin typeface="Arial"/>
                <a:cs typeface="Arial"/>
              </a:rPr>
              <a:t>aalto.fi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094339" y="2868216"/>
            <a:ext cx="2955323" cy="353760"/>
            <a:chOff x="4484925" y="3824288"/>
            <a:chExt cx="3940431" cy="471680"/>
          </a:xfrm>
        </p:grpSpPr>
        <p:pic>
          <p:nvPicPr>
            <p:cNvPr id="7" name="Picture 6" descr="FB.png">
              <a:hlinkClick r:id="rId3"/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84925" y="3824416"/>
              <a:ext cx="471553" cy="471552"/>
            </a:xfrm>
            <a:prstGeom prst="rect">
              <a:avLst/>
            </a:prstGeom>
          </p:spPr>
        </p:pic>
        <p:pic>
          <p:nvPicPr>
            <p:cNvPr id="8" name="Picture 7" descr="IG.png">
              <a:hlinkClick r:id="rId5"/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64502" y="3824416"/>
              <a:ext cx="471553" cy="471552"/>
            </a:xfrm>
            <a:prstGeom prst="rect">
              <a:avLst/>
            </a:prstGeom>
          </p:spPr>
        </p:pic>
        <p:pic>
          <p:nvPicPr>
            <p:cNvPr id="9" name="Picture 8" descr="Twitter.png">
              <a:hlinkClick r:id="rId7"/>
            </p:cNvPr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44079" y="3824416"/>
              <a:ext cx="471553" cy="471552"/>
            </a:xfrm>
            <a:prstGeom prst="rect">
              <a:avLst/>
            </a:prstGeom>
          </p:spPr>
        </p:pic>
        <p:pic>
          <p:nvPicPr>
            <p:cNvPr id="10" name="Picture 9" descr="Youtube.png">
              <a:hlinkClick r:id="rId9"/>
            </p:cNvPr>
            <p:cNvPicPr>
              <a:picLocks noChangeAspect="1"/>
            </p:cNvPicPr>
            <p:nvPr userDrawn="1"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23656" y="3824416"/>
              <a:ext cx="471553" cy="471552"/>
            </a:xfrm>
            <a:prstGeom prst="rect">
              <a:avLst/>
            </a:prstGeom>
          </p:spPr>
        </p:pic>
        <p:pic>
          <p:nvPicPr>
            <p:cNvPr id="11" name="Picture 10" descr="SC.png">
              <a:hlinkClick r:id="rId11"/>
            </p:cNvPr>
            <p:cNvPicPr>
              <a:picLocks noChangeAspect="1"/>
            </p:cNvPicPr>
            <p:nvPr userDrawn="1"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03233" y="3824416"/>
              <a:ext cx="471553" cy="471552"/>
            </a:xfrm>
            <a:prstGeom prst="rect">
              <a:avLst/>
            </a:prstGeom>
          </p:spPr>
        </p:pic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82812" y="3824288"/>
              <a:ext cx="542544" cy="457200"/>
            </a:xfrm>
            <a:prstGeom prst="rect">
              <a:avLst/>
            </a:prstGeom>
          </p:spPr>
        </p:pic>
      </p:grpSp>
      <p:sp>
        <p:nvSpPr>
          <p:cNvPr id="16" name="Tekstin paikkamerkki 2">
            <a:extLst>
              <a:ext uri="{FF2B5EF4-FFF2-40B4-BE49-F238E27FC236}">
                <a16:creationId xmlns:a16="http://schemas.microsoft.com/office/drawing/2014/main" id="{B67CF44B-9D5D-46DC-B676-986416FB83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76388" y="1364641"/>
            <a:ext cx="5995987" cy="1306097"/>
          </a:xfrm>
          <a:prstGeom prst="rect">
            <a:avLst/>
          </a:prstGeom>
        </p:spPr>
        <p:txBody>
          <a:bodyPr anchor="b" anchorCtr="0"/>
          <a:lstStyle>
            <a:lvl1pPr marL="0" indent="0" algn="ctr">
              <a:lnSpc>
                <a:spcPct val="100000"/>
              </a:lnSpc>
              <a:buNone/>
              <a:defRPr sz="4000" b="1">
                <a:solidFill>
                  <a:srgbClr val="FFFFFF"/>
                </a:solidFill>
                <a:latin typeface="+mj-lt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fi-FI" dirty="0"/>
              <a:t>Add text</a:t>
            </a:r>
          </a:p>
        </p:txBody>
      </p:sp>
      <p:pic>
        <p:nvPicPr>
          <p:cNvPr id="17" name="Kuva 16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66" y="3501900"/>
            <a:ext cx="1850304" cy="164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4277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07" userDrawn="1">
          <p15:clr>
            <a:srgbClr val="FBAE40"/>
          </p15:clr>
        </p15:guide>
        <p15:guide id="2" orient="horz" pos="2028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 Header Slide - Red -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13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42398" y="896699"/>
            <a:ext cx="3869137" cy="57077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 sz="40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42398" y="1746663"/>
            <a:ext cx="3869137" cy="3516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Sub Headline</a:t>
            </a:r>
          </a:p>
        </p:txBody>
      </p:sp>
      <p:cxnSp>
        <p:nvCxnSpPr>
          <p:cNvPr id="15" name="Suora yhdysviiva 6"/>
          <p:cNvCxnSpPr/>
          <p:nvPr userDrawn="1"/>
        </p:nvCxnSpPr>
        <p:spPr>
          <a:xfrm>
            <a:off x="442398" y="1588362"/>
            <a:ext cx="379683" cy="0"/>
          </a:xfrm>
          <a:prstGeom prst="line">
            <a:avLst/>
          </a:prstGeom>
          <a:ln w="571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442398" y="2794132"/>
            <a:ext cx="3869137" cy="2944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442398" y="3088551"/>
            <a:ext cx="3869137" cy="3240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2" name="Kuva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917" r="16133"/>
          <a:stretch/>
        </p:blipFill>
        <p:spPr>
          <a:xfrm>
            <a:off x="4576713" y="0"/>
            <a:ext cx="4567287" cy="5143500"/>
          </a:xfrm>
          <a:prstGeom prst="rect">
            <a:avLst/>
          </a:prstGeom>
        </p:spPr>
      </p:pic>
      <p:pic>
        <p:nvPicPr>
          <p:cNvPr id="17" name="Kuva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66" y="3501900"/>
            <a:ext cx="1850304" cy="164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97475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. Header Slide - Red -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13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42398" y="896699"/>
            <a:ext cx="3869137" cy="57077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 sz="40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cxnSp>
        <p:nvCxnSpPr>
          <p:cNvPr id="15" name="Suora yhdysviiva 6"/>
          <p:cNvCxnSpPr/>
          <p:nvPr userDrawn="1"/>
        </p:nvCxnSpPr>
        <p:spPr>
          <a:xfrm>
            <a:off x="442398" y="1588362"/>
            <a:ext cx="379683" cy="0"/>
          </a:xfrm>
          <a:prstGeom prst="line">
            <a:avLst/>
          </a:prstGeom>
          <a:ln w="571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" name="Kuva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70" r="20132"/>
          <a:stretch/>
        </p:blipFill>
        <p:spPr>
          <a:xfrm>
            <a:off x="4572000" y="0"/>
            <a:ext cx="4567287" cy="5143500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42398" y="1746663"/>
            <a:ext cx="3869137" cy="3516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Sub Headlin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442398" y="2794132"/>
            <a:ext cx="3869137" cy="2944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442398" y="3088551"/>
            <a:ext cx="3869137" cy="3240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Date</a:t>
            </a:r>
            <a:endParaRPr lang="en-US" dirty="0"/>
          </a:p>
        </p:txBody>
      </p:sp>
      <p:pic>
        <p:nvPicPr>
          <p:cNvPr id="13" name="Kuva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66" y="3501900"/>
            <a:ext cx="1850304" cy="164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88571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. Header Slide - Red -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13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42398" y="896699"/>
            <a:ext cx="3869137" cy="57077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 sz="40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cxnSp>
        <p:nvCxnSpPr>
          <p:cNvPr id="15" name="Suora yhdysviiva 6"/>
          <p:cNvCxnSpPr/>
          <p:nvPr userDrawn="1"/>
        </p:nvCxnSpPr>
        <p:spPr>
          <a:xfrm>
            <a:off x="442398" y="1588362"/>
            <a:ext cx="379683" cy="0"/>
          </a:xfrm>
          <a:prstGeom prst="line">
            <a:avLst/>
          </a:prstGeom>
          <a:ln w="571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Kuva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7" t="22626" r="52630"/>
          <a:stretch/>
        </p:blipFill>
        <p:spPr>
          <a:xfrm>
            <a:off x="4576712" y="0"/>
            <a:ext cx="4567287" cy="5143500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42398" y="1746663"/>
            <a:ext cx="3869137" cy="3516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Sub Headlin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442398" y="2794132"/>
            <a:ext cx="3869137" cy="2944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442398" y="3088551"/>
            <a:ext cx="3869137" cy="3240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Date</a:t>
            </a:r>
            <a:endParaRPr lang="en-US" dirty="0"/>
          </a:p>
        </p:txBody>
      </p:sp>
      <p:pic>
        <p:nvPicPr>
          <p:cNvPr id="16" name="Kuva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66" y="3501900"/>
            <a:ext cx="1850304" cy="164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852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Header Slide - Red -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13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42398" y="896699"/>
            <a:ext cx="3869137" cy="57077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 sz="40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42398" y="1781298"/>
            <a:ext cx="3869137" cy="3516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Sub Headlin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442398" y="2794132"/>
            <a:ext cx="3869137" cy="2944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442398" y="3088551"/>
            <a:ext cx="3869137" cy="3240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4564419" y="0"/>
            <a:ext cx="4579582" cy="5143500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 b="1" i="0" baseline="0">
                <a:solidFill>
                  <a:schemeClr val="bg1">
                    <a:alpha val="62000"/>
                  </a:schemeClr>
                </a:solidFill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Click icon to add image.</a:t>
            </a:r>
          </a:p>
          <a:p>
            <a:r>
              <a:rPr lang="fi-FI" dirty="0" err="1"/>
              <a:t>Fit</a:t>
            </a:r>
            <a:r>
              <a:rPr lang="fi-FI" dirty="0"/>
              <a:t> </a:t>
            </a:r>
            <a:r>
              <a:rPr lang="fi-FI" dirty="0" err="1"/>
              <a:t>the</a:t>
            </a:r>
            <a:r>
              <a:rPr lang="fi-FI" dirty="0"/>
              <a:t> image to </a:t>
            </a:r>
            <a:r>
              <a:rPr lang="fi-FI" dirty="0" err="1"/>
              <a:t>frame</a:t>
            </a:r>
            <a:r>
              <a:rPr lang="fi-FI" dirty="0"/>
              <a:t> </a:t>
            </a:r>
            <a:br>
              <a:rPr lang="fi-FI" dirty="0"/>
            </a:br>
            <a:r>
              <a:rPr lang="fi-FI" dirty="0" err="1"/>
              <a:t>by</a:t>
            </a:r>
            <a:r>
              <a:rPr lang="fi-FI" dirty="0"/>
              <a:t> </a:t>
            </a:r>
            <a:r>
              <a:rPr lang="fi-FI" dirty="0" err="1"/>
              <a:t>choosing</a:t>
            </a:r>
            <a:r>
              <a:rPr lang="fi-FI" dirty="0"/>
              <a:t>: </a:t>
            </a:r>
            <a:br>
              <a:rPr lang="fi-FI" dirty="0"/>
            </a:br>
            <a:r>
              <a:rPr lang="fi-FI" dirty="0" err="1"/>
              <a:t>crop</a:t>
            </a:r>
            <a:r>
              <a:rPr lang="fi-FI" dirty="0"/>
              <a:t>&gt;</a:t>
            </a:r>
            <a:r>
              <a:rPr lang="fi-FI" dirty="0" err="1"/>
              <a:t>fit</a:t>
            </a:r>
            <a:r>
              <a:rPr lang="fi-FI" dirty="0"/>
              <a:t> / rajaa&gt;sovita</a:t>
            </a:r>
            <a:endParaRPr lang="en-US" dirty="0"/>
          </a:p>
        </p:txBody>
      </p:sp>
      <p:pic>
        <p:nvPicPr>
          <p:cNvPr id="17" name="Kuva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66" y="3501900"/>
            <a:ext cx="1850304" cy="164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2861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7. Divider - Red -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13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C9C0A2-E518-4F61-BACC-25E3255118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19113"/>
            <a:ext cx="4218160" cy="37675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300" b="1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orem </a:t>
            </a:r>
            <a:r>
              <a:rPr lang="fi-FI" dirty="0" err="1"/>
              <a:t>ipsum</a:t>
            </a:r>
            <a:r>
              <a:rPr lang="fi-FI" dirty="0"/>
              <a:t> </a:t>
            </a:r>
            <a:r>
              <a:rPr lang="fi-FI" dirty="0" err="1"/>
              <a:t>dolor</a:t>
            </a:r>
            <a:r>
              <a:rPr lang="fi-FI" dirty="0"/>
              <a:t> </a:t>
            </a:r>
            <a:r>
              <a:rPr lang="fi-FI" dirty="0" err="1"/>
              <a:t>sit</a:t>
            </a:r>
            <a:r>
              <a:rPr lang="fi-FI" dirty="0"/>
              <a:t> amet, </a:t>
            </a:r>
            <a:r>
              <a:rPr lang="fi-FI" dirty="0" err="1"/>
              <a:t>consectetur</a:t>
            </a:r>
            <a:r>
              <a:rPr lang="fi-FI" dirty="0"/>
              <a:t> adipiscing elit. </a:t>
            </a:r>
            <a:r>
              <a:rPr lang="fi-FI" dirty="0" err="1"/>
              <a:t>Maecenas</a:t>
            </a:r>
            <a:r>
              <a:rPr lang="fi-FI" dirty="0"/>
              <a:t> </a:t>
            </a:r>
            <a:r>
              <a:rPr lang="fi-FI" dirty="0" err="1"/>
              <a:t>velit</a:t>
            </a:r>
            <a:r>
              <a:rPr lang="fi-FI" dirty="0"/>
              <a:t> </a:t>
            </a:r>
            <a:r>
              <a:rPr lang="fi-FI" dirty="0" err="1"/>
              <a:t>velit</a:t>
            </a:r>
            <a:r>
              <a:rPr lang="fi-FI" dirty="0"/>
              <a:t>, </a:t>
            </a:r>
            <a:r>
              <a:rPr lang="fi-FI" dirty="0" err="1"/>
              <a:t>consequat</a:t>
            </a:r>
            <a:r>
              <a:rPr lang="fi-FI" dirty="0"/>
              <a:t> </a:t>
            </a:r>
            <a:r>
              <a:rPr lang="fi-FI" dirty="0" err="1"/>
              <a:t>eget</a:t>
            </a:r>
            <a:r>
              <a:rPr lang="fi-FI" dirty="0"/>
              <a:t> </a:t>
            </a:r>
            <a:r>
              <a:rPr lang="fi-FI" dirty="0" err="1"/>
              <a:t>ullamcorper</a:t>
            </a:r>
            <a:r>
              <a:rPr lang="fi-FI" dirty="0"/>
              <a:t> a, </a:t>
            </a:r>
            <a:r>
              <a:rPr lang="fi-FI" dirty="0" err="1"/>
              <a:t>maximus</a:t>
            </a:r>
            <a:r>
              <a:rPr lang="fi-FI" dirty="0"/>
              <a:t> </a:t>
            </a:r>
            <a:r>
              <a:rPr lang="fi-FI" dirty="0" err="1"/>
              <a:t>ac</a:t>
            </a:r>
            <a:r>
              <a:rPr lang="fi-FI" dirty="0"/>
              <a:t> ex.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04E326D0-D397-4DCF-88BA-ADD90C3D5C3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/>
              <a:t>dd.mm.yyyy</a:t>
            </a:r>
            <a:endParaRPr lang="en-US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39BEBFE-6A3C-4862-B3C0-DF2EC5E8CB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Kuva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44" r="19861"/>
          <a:stretch/>
        </p:blipFill>
        <p:spPr>
          <a:xfrm>
            <a:off x="4715165" y="0"/>
            <a:ext cx="4428835" cy="5143500"/>
          </a:xfrm>
          <a:prstGeom prst="rect">
            <a:avLst/>
          </a:prstGeom>
        </p:spPr>
      </p:pic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0B124AD7-04E5-4E26-A7E3-6E499B81497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 err="1"/>
              <a:t>Your</a:t>
            </a:r>
            <a:r>
              <a:rPr lang="fi-FI" dirty="0"/>
              <a:t> text </a:t>
            </a:r>
            <a:r>
              <a:rPr lang="fi-FI" dirty="0" err="1"/>
              <a:t>here</a:t>
            </a:r>
            <a:endParaRPr lang="fi-FI" dirty="0"/>
          </a:p>
        </p:txBody>
      </p:sp>
      <p:pic>
        <p:nvPicPr>
          <p:cNvPr id="13" name="Kuva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1580"/>
            <a:ext cx="1991440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79311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971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. Divider - Red -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13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C9C0A2-E518-4F61-BACC-25E3255118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19113"/>
            <a:ext cx="4218160" cy="37675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300" b="1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orem </a:t>
            </a:r>
            <a:r>
              <a:rPr lang="fi-FI" dirty="0" err="1"/>
              <a:t>ipsum</a:t>
            </a:r>
            <a:r>
              <a:rPr lang="fi-FI" dirty="0"/>
              <a:t> </a:t>
            </a:r>
            <a:r>
              <a:rPr lang="fi-FI" dirty="0" err="1"/>
              <a:t>dolor</a:t>
            </a:r>
            <a:r>
              <a:rPr lang="fi-FI" dirty="0"/>
              <a:t> </a:t>
            </a:r>
            <a:r>
              <a:rPr lang="fi-FI" dirty="0" err="1"/>
              <a:t>sit</a:t>
            </a:r>
            <a:r>
              <a:rPr lang="fi-FI" dirty="0"/>
              <a:t> amet, </a:t>
            </a:r>
            <a:r>
              <a:rPr lang="fi-FI" dirty="0" err="1"/>
              <a:t>consectetur</a:t>
            </a:r>
            <a:r>
              <a:rPr lang="fi-FI" dirty="0"/>
              <a:t> </a:t>
            </a:r>
            <a:r>
              <a:rPr lang="fi-FI" dirty="0" err="1"/>
              <a:t>adipiscing</a:t>
            </a:r>
            <a:r>
              <a:rPr lang="fi-FI" dirty="0"/>
              <a:t> elit. Maecenas </a:t>
            </a:r>
            <a:r>
              <a:rPr lang="fi-FI" dirty="0" err="1"/>
              <a:t>velit</a:t>
            </a:r>
            <a:r>
              <a:rPr lang="fi-FI" dirty="0"/>
              <a:t> </a:t>
            </a:r>
            <a:r>
              <a:rPr lang="fi-FI" dirty="0" err="1"/>
              <a:t>velit</a:t>
            </a:r>
            <a:r>
              <a:rPr lang="fi-FI" dirty="0"/>
              <a:t>, </a:t>
            </a:r>
            <a:r>
              <a:rPr lang="fi-FI" dirty="0" err="1"/>
              <a:t>consequat</a:t>
            </a:r>
            <a:r>
              <a:rPr lang="fi-FI" dirty="0"/>
              <a:t> </a:t>
            </a:r>
            <a:r>
              <a:rPr lang="fi-FI" dirty="0" err="1"/>
              <a:t>eget</a:t>
            </a:r>
            <a:r>
              <a:rPr lang="fi-FI" dirty="0"/>
              <a:t> </a:t>
            </a:r>
            <a:r>
              <a:rPr lang="fi-FI" dirty="0" err="1"/>
              <a:t>ullamcorper</a:t>
            </a:r>
            <a:r>
              <a:rPr lang="fi-FI" dirty="0"/>
              <a:t> a, </a:t>
            </a:r>
            <a:r>
              <a:rPr lang="fi-FI" dirty="0" err="1"/>
              <a:t>maximus</a:t>
            </a:r>
            <a:r>
              <a:rPr lang="fi-FI" dirty="0"/>
              <a:t> </a:t>
            </a:r>
            <a:r>
              <a:rPr lang="fi-FI" dirty="0" err="1"/>
              <a:t>ac</a:t>
            </a:r>
            <a:r>
              <a:rPr lang="fi-FI" dirty="0"/>
              <a:t> ex.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04E326D0-D397-4DCF-88BA-ADD90C3D5C3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/>
              <a:t>dd.mm.yyyy</a:t>
            </a:r>
            <a:endParaRPr lang="en-US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39BEBFE-6A3C-4862-B3C0-DF2EC5E8CB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Kuva 1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85" r="9199"/>
          <a:stretch/>
        </p:blipFill>
        <p:spPr>
          <a:xfrm>
            <a:off x="4722829" y="0"/>
            <a:ext cx="4421171" cy="5143500"/>
          </a:xfrm>
          <a:prstGeom prst="rect">
            <a:avLst/>
          </a:prstGeom>
        </p:spPr>
      </p:pic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0B124AD7-04E5-4E26-A7E3-6E499B81497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 err="1"/>
              <a:t>Your</a:t>
            </a:r>
            <a:r>
              <a:rPr lang="fi-FI" dirty="0"/>
              <a:t> text </a:t>
            </a:r>
            <a:r>
              <a:rPr lang="fi-FI" dirty="0" err="1"/>
              <a:t>here</a:t>
            </a:r>
            <a:endParaRPr lang="fi-FI" dirty="0"/>
          </a:p>
        </p:txBody>
      </p:sp>
      <p:pic>
        <p:nvPicPr>
          <p:cNvPr id="12" name="Kuva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1580"/>
            <a:ext cx="1991440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3612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971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7. Divider - Red -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13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C9C0A2-E518-4F61-BACC-25E3255118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19113"/>
            <a:ext cx="4218160" cy="37675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300" b="1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orem </a:t>
            </a:r>
            <a:r>
              <a:rPr lang="fi-FI" dirty="0" err="1"/>
              <a:t>ipsum</a:t>
            </a:r>
            <a:r>
              <a:rPr lang="fi-FI" dirty="0"/>
              <a:t> </a:t>
            </a:r>
            <a:r>
              <a:rPr lang="fi-FI" dirty="0" err="1"/>
              <a:t>dolor</a:t>
            </a:r>
            <a:r>
              <a:rPr lang="fi-FI" dirty="0"/>
              <a:t> </a:t>
            </a:r>
            <a:r>
              <a:rPr lang="fi-FI" dirty="0" err="1"/>
              <a:t>sit</a:t>
            </a:r>
            <a:r>
              <a:rPr lang="fi-FI" dirty="0"/>
              <a:t> amet, </a:t>
            </a:r>
            <a:r>
              <a:rPr lang="fi-FI" dirty="0" err="1"/>
              <a:t>consectetur</a:t>
            </a:r>
            <a:r>
              <a:rPr lang="fi-FI" dirty="0"/>
              <a:t> </a:t>
            </a:r>
            <a:r>
              <a:rPr lang="fi-FI" dirty="0" err="1"/>
              <a:t>adipiscing</a:t>
            </a:r>
            <a:r>
              <a:rPr lang="fi-FI" dirty="0"/>
              <a:t> elit. Maecenas </a:t>
            </a:r>
            <a:r>
              <a:rPr lang="fi-FI" dirty="0" err="1"/>
              <a:t>velit</a:t>
            </a:r>
            <a:r>
              <a:rPr lang="fi-FI" dirty="0"/>
              <a:t> </a:t>
            </a:r>
            <a:r>
              <a:rPr lang="fi-FI" dirty="0" err="1"/>
              <a:t>velit</a:t>
            </a:r>
            <a:r>
              <a:rPr lang="fi-FI" dirty="0"/>
              <a:t>, consequat </a:t>
            </a:r>
            <a:r>
              <a:rPr lang="fi-FI" dirty="0" err="1"/>
              <a:t>eget</a:t>
            </a:r>
            <a:r>
              <a:rPr lang="fi-FI" dirty="0"/>
              <a:t> </a:t>
            </a:r>
            <a:r>
              <a:rPr lang="fi-FI" dirty="0" err="1"/>
              <a:t>ullamcorper</a:t>
            </a:r>
            <a:r>
              <a:rPr lang="fi-FI" dirty="0"/>
              <a:t> a, </a:t>
            </a:r>
            <a:r>
              <a:rPr lang="fi-FI" dirty="0" err="1"/>
              <a:t>maximus</a:t>
            </a:r>
            <a:r>
              <a:rPr lang="fi-FI" dirty="0"/>
              <a:t> </a:t>
            </a:r>
            <a:r>
              <a:rPr lang="fi-FI" dirty="0" err="1"/>
              <a:t>ac</a:t>
            </a:r>
            <a:r>
              <a:rPr lang="fi-FI" dirty="0"/>
              <a:t> ex.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04E326D0-D397-4DCF-88BA-ADD90C3D5C3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/>
              <a:t>dd.mm.yyyy</a:t>
            </a:r>
            <a:endParaRPr lang="en-US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39BEBFE-6A3C-4862-B3C0-DF2EC5E8CB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Kuva 1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08" r="17631"/>
          <a:stretch/>
        </p:blipFill>
        <p:spPr>
          <a:xfrm>
            <a:off x="4713402" y="0"/>
            <a:ext cx="4430598" cy="5143500"/>
          </a:xfrm>
          <a:prstGeom prst="rect">
            <a:avLst/>
          </a:prstGeom>
        </p:spPr>
      </p:pic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0B124AD7-04E5-4E26-A7E3-6E499B81497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 err="1"/>
              <a:t>Your</a:t>
            </a:r>
            <a:r>
              <a:rPr lang="fi-FI" dirty="0"/>
              <a:t> text </a:t>
            </a:r>
            <a:r>
              <a:rPr lang="fi-FI" dirty="0" err="1"/>
              <a:t>here</a:t>
            </a:r>
            <a:endParaRPr lang="fi-FI" dirty="0"/>
          </a:p>
        </p:txBody>
      </p:sp>
      <p:pic>
        <p:nvPicPr>
          <p:cNvPr id="12" name="Kuva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1580"/>
            <a:ext cx="1991440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323421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430"/>
          <a:ext cx="1587" cy="14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430"/>
                        <a:ext cx="1587" cy="14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314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240" b="1" spc="-9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135450"/>
            <a:ext cx="8207374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0" indent="-191160">
              <a:buFont typeface="Arial"/>
              <a:buChar char="•"/>
              <a:defRPr sz="1800">
                <a:latin typeface="Georgia"/>
              </a:defRPr>
            </a:lvl2pPr>
            <a:lvl3pPr marL="414720" indent="-207360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0" indent="-174960">
              <a:buFont typeface="Arial"/>
              <a:buChar char="•"/>
              <a:defRPr sz="1260" baseline="0">
                <a:latin typeface="Georgia"/>
              </a:defRPr>
            </a:lvl4pPr>
            <a:lvl5pPr marL="978480" indent="-205740">
              <a:buFont typeface="Courier New"/>
              <a:buChar char="o"/>
              <a:defRPr sz="117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6" name="Date Placeholder 1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CBB682-87B2-4236-AF78-B49807E7713E}" type="datetime1">
              <a:rPr lang="fi-FI" smtClean="0"/>
              <a:t>25.5.2019</a:t>
            </a:fld>
            <a:endParaRPr lang="fi-FI"/>
          </a:p>
        </p:txBody>
      </p:sp>
      <p:sp>
        <p:nvSpPr>
          <p:cNvPr id="7" name="Footer Placehold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Slide Number Placeholder 1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EFD4B7-1CC6-864B-A72A-C978B70BBA9B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2" name="Straight Connector 4"/>
          <p:cNvCxnSpPr/>
          <p:nvPr userDrawn="1"/>
        </p:nvCxnSpPr>
        <p:spPr>
          <a:xfrm>
            <a:off x="468314" y="4385706"/>
            <a:ext cx="8207375" cy="0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1" y="4241160"/>
            <a:ext cx="2227147" cy="861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3158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4" y="1275608"/>
            <a:ext cx="8207375" cy="265709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261"/>
            <a:ext cx="1809750" cy="1445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31513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4" y="1275872"/>
            <a:ext cx="8207375" cy="265682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261"/>
            <a:ext cx="1809750" cy="1445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7343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68312" y="1276560"/>
            <a:ext cx="8208000" cy="2656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68314" y="3986773"/>
            <a:ext cx="5388448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809750" cy="1445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29755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68314" y="1491966"/>
            <a:ext cx="3319477" cy="242467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400" b="1" spc="-18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68314" y="4078566"/>
            <a:ext cx="3319477" cy="437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35000"/>
            <a:ext cx="4629692" cy="48735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809750" cy="1445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4671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4" y="1434200"/>
            <a:ext cx="820737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7" name="Straight Connector 4"/>
          <p:cNvCxnSpPr/>
          <p:nvPr userDrawn="1"/>
        </p:nvCxnSpPr>
        <p:spPr>
          <a:xfrm>
            <a:off x="468314" y="4386263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1" y="4241160"/>
            <a:ext cx="2227145" cy="861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8896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314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240" b="1" spc="-9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135450"/>
            <a:ext cx="8207374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0" indent="-191160">
              <a:buFont typeface="Arial"/>
              <a:buChar char="•"/>
              <a:defRPr sz="1800">
                <a:latin typeface="Georgia"/>
              </a:defRPr>
            </a:lvl2pPr>
            <a:lvl3pPr marL="414720" indent="-207360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0" indent="-174960">
              <a:buFont typeface="Arial"/>
              <a:buChar char="•"/>
              <a:defRPr sz="1260" baseline="0">
                <a:latin typeface="Georgia"/>
              </a:defRPr>
            </a:lvl4pPr>
            <a:lvl5pPr marL="978480" indent="-205740">
              <a:buFont typeface="Courier New"/>
              <a:buChar char="o"/>
              <a:defRPr sz="117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6" name="Date Placeholder 1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CBB682-87B2-4236-AF78-B49807E7713E}" type="datetime1">
              <a:rPr lang="fi-FI" smtClean="0"/>
              <a:t>25.5.2019</a:t>
            </a:fld>
            <a:endParaRPr lang="fi-FI"/>
          </a:p>
        </p:txBody>
      </p:sp>
      <p:sp>
        <p:nvSpPr>
          <p:cNvPr id="7" name="Footer Placehold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Slide Number Placeholder 1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EFD4B7-1CC6-864B-A72A-C978B70BBA9B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2" name="Straight Connector 4"/>
          <p:cNvCxnSpPr/>
          <p:nvPr userDrawn="1"/>
        </p:nvCxnSpPr>
        <p:spPr>
          <a:xfrm>
            <a:off x="468314" y="4385706"/>
            <a:ext cx="8207375" cy="0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1" y="4241160"/>
            <a:ext cx="2227147" cy="861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4795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Body slide - 1 wid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92328" y="28438"/>
            <a:ext cx="8492897" cy="9995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Body slide titl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292328" y="1241467"/>
            <a:ext cx="8492897" cy="304946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00" b="1" baseline="0">
                <a:solidFill>
                  <a:schemeClr val="tx1"/>
                </a:solidFill>
              </a:defRPr>
            </a:lvl1pPr>
            <a:lvl2pPr marL="628650" indent="-271463">
              <a:buFont typeface="Arial" panose="020B0604020202020204" pitchFamily="34" charset="0"/>
              <a:buChar char="•"/>
              <a:defRPr sz="2100"/>
            </a:lvl2pPr>
            <a:lvl3pPr marL="804863" indent="-176213">
              <a:buFont typeface="Arial" panose="020B0604020202020204" pitchFamily="34" charset="0"/>
              <a:buChar char="•"/>
              <a:defRPr sz="16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Your text here</a:t>
            </a:r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</p:txBody>
      </p:sp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4C366827-B13F-41D2-9BB1-86D6952FE74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fi-FI"/>
              <a:t>dd.mm.yyyy</a:t>
            </a:r>
            <a:endParaRPr lang="en-US" dirty="0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B081CECA-2419-49BC-A865-E26F838DFBF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i-FI" dirty="0" err="1"/>
              <a:t>Your</a:t>
            </a:r>
            <a:r>
              <a:rPr lang="fi-FI" dirty="0"/>
              <a:t> text </a:t>
            </a:r>
            <a:r>
              <a:rPr lang="fi-FI" dirty="0" err="1"/>
              <a:t>here</a:t>
            </a:r>
            <a:endParaRPr lang="fi-FI" dirty="0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75CA6814-F1E3-4289-929D-E2AEACCAF6C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Kuva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8790"/>
            <a:ext cx="2073704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4194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pos="5534" userDrawn="1">
          <p15:clr>
            <a:srgbClr val="FBAE40"/>
          </p15:clr>
        </p15:guide>
        <p15:guide id="5" orient="horz" pos="327" userDrawn="1">
          <p15:clr>
            <a:srgbClr val="FBAE40"/>
          </p15:clr>
        </p15:guide>
        <p15:guide id="6" pos="2795" userDrawn="1">
          <p15:clr>
            <a:srgbClr val="FBAE40"/>
          </p15:clr>
        </p15:guide>
        <p15:guide id="7" pos="2965" userDrawn="1">
          <p15:clr>
            <a:srgbClr val="FBAE40"/>
          </p15:clr>
        </p15:guide>
        <p15:guide id="8" orient="horz" pos="849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3308" y="238602"/>
            <a:ext cx="8212380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240" b="1" spc="-9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3309" y="1135450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0" indent="-191160">
              <a:buFont typeface="Arial"/>
              <a:buChar char="•"/>
              <a:defRPr sz="1800">
                <a:latin typeface="Georgia"/>
              </a:defRPr>
            </a:lvl2pPr>
            <a:lvl3pPr marL="414720" indent="-207360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0" indent="-174960">
              <a:buFont typeface="Arial"/>
              <a:buChar char="•"/>
              <a:defRPr sz="1260" baseline="0">
                <a:latin typeface="Georgia"/>
              </a:defRPr>
            </a:lvl4pPr>
            <a:lvl5pPr marL="978480" indent="-205740">
              <a:buFont typeface="Courier New"/>
              <a:buChar char="o"/>
              <a:defRPr sz="117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40" name="Content Placeholder 10"/>
          <p:cNvSpPr>
            <a:spLocks noGrp="1"/>
          </p:cNvSpPr>
          <p:nvPr>
            <p:ph sz="quarter" idx="18"/>
          </p:nvPr>
        </p:nvSpPr>
        <p:spPr>
          <a:xfrm>
            <a:off x="4687610" y="1135450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0" indent="-191160">
              <a:buFont typeface="Arial"/>
              <a:buChar char="•"/>
              <a:defRPr sz="1800">
                <a:latin typeface="Georgia"/>
              </a:defRPr>
            </a:lvl2pPr>
            <a:lvl3pPr marL="414720" indent="-207360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0" indent="-174960">
              <a:buFont typeface="Arial"/>
              <a:buChar char="•"/>
              <a:defRPr sz="1260" baseline="0">
                <a:latin typeface="Georgia"/>
              </a:defRPr>
            </a:lvl4pPr>
            <a:lvl5pPr marL="978480" indent="-205740">
              <a:buFont typeface="Courier New"/>
              <a:buChar char="o"/>
              <a:defRPr sz="117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10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6F12C3-4421-43A0-8844-8188FCFDF52F}" type="datetime1">
              <a:rPr lang="fi-FI" smtClean="0"/>
              <a:t>25.5.2019</a:t>
            </a:fld>
            <a:endParaRPr lang="fi-FI"/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79A8AE-7274-0C4A-AB42-92022833E6E2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14" y="4385706"/>
            <a:ext cx="8207375" cy="0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1" y="4241160"/>
            <a:ext cx="2227147" cy="861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53935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315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916" b="1" spc="-81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4"/>
          </p:nvPr>
        </p:nvSpPr>
        <p:spPr>
          <a:xfrm>
            <a:off x="468315" y="1145992"/>
            <a:ext cx="8207374" cy="299193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01" b="1">
                <a:latin typeface="+mj-lt"/>
              </a:defRPr>
            </a:lvl1pPr>
            <a:lvl2pPr marL="192456" indent="-172044">
              <a:buFont typeface="Arial"/>
              <a:buChar char="•"/>
              <a:defRPr sz="1620">
                <a:latin typeface="Georgia"/>
              </a:defRPr>
            </a:lvl2pPr>
            <a:lvl3pPr marL="373248" indent="-186624">
              <a:buFont typeface="Lucida Grande"/>
              <a:buChar char="-"/>
              <a:defRPr sz="1296" i="1">
                <a:latin typeface="Georgia"/>
                <a:cs typeface="Georgia"/>
              </a:defRPr>
            </a:lvl3pPr>
            <a:lvl4pPr marL="641520" indent="-157464">
              <a:buFont typeface="Arial"/>
              <a:buChar char="•"/>
              <a:defRPr sz="1134" baseline="0">
                <a:latin typeface="Georgia"/>
              </a:defRPr>
            </a:lvl4pPr>
            <a:lvl5pPr marL="880632" indent="-185166">
              <a:buFont typeface="Courier New"/>
              <a:buChar char="o"/>
              <a:defRPr sz="1053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6" name="Date Placeholder 1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CBB682-87B2-4236-AF78-B49807E7713E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5.2019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1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EFD4B7-1CC6-864B-A72A-C978B70BBA9B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2" name="Straight Connector 4"/>
          <p:cNvCxnSpPr/>
          <p:nvPr userDrawn="1"/>
        </p:nvCxnSpPr>
        <p:spPr>
          <a:xfrm>
            <a:off x="468315" y="4385706"/>
            <a:ext cx="8207375" cy="0"/>
          </a:xfrm>
          <a:prstGeom prst="line">
            <a:avLst/>
          </a:prstGeom>
          <a:ln w="12700" cmpd="sng">
            <a:solidFill>
              <a:srgbClr val="005EB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000" y="4241162"/>
            <a:ext cx="2113788" cy="86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59073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Body slide with Sub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92328" y="28437"/>
            <a:ext cx="8492897" cy="9995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Body slide titl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292328" y="2024418"/>
            <a:ext cx="8492897" cy="22595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00" b="1" baseline="0">
                <a:solidFill>
                  <a:schemeClr val="tx1"/>
                </a:solidFill>
              </a:defRPr>
            </a:lvl1pPr>
            <a:lvl2pPr marL="628650" indent="-271463">
              <a:buFont typeface="Arial" panose="020B0604020202020204" pitchFamily="34" charset="0"/>
              <a:buChar char="•"/>
              <a:defRPr sz="2100"/>
            </a:lvl2pPr>
            <a:lvl3pPr marL="804863" indent="-176213">
              <a:buFont typeface="Arial" panose="020B0604020202020204" pitchFamily="34" charset="0"/>
              <a:buChar char="•"/>
              <a:defRPr sz="16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Your text here</a:t>
            </a:r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292328" y="1199905"/>
            <a:ext cx="8492897" cy="64885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Sub Headline</a:t>
            </a:r>
          </a:p>
          <a:p>
            <a:pPr lvl="0"/>
            <a:endParaRPr lang="en-US" dirty="0"/>
          </a:p>
        </p:txBody>
      </p:sp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15F98E76-565B-438E-BE24-AF36CE784A6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fi-FI"/>
              <a:t>dd.mm.yyyy</a:t>
            </a:r>
            <a:endParaRPr lang="en-US" dirty="0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0477500B-A8BC-45B6-BA85-A082FC8528F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fi-FI" dirty="0" err="1"/>
              <a:t>Your</a:t>
            </a:r>
            <a:r>
              <a:rPr lang="fi-FI" dirty="0"/>
              <a:t> text </a:t>
            </a:r>
            <a:r>
              <a:rPr lang="fi-FI" dirty="0" err="1"/>
              <a:t>here</a:t>
            </a:r>
            <a:endParaRPr lang="fi-FI" dirty="0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4A736A4D-A5BC-4E4F-9FD0-C4BC6EEC989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Kuva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8790"/>
            <a:ext cx="2073704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5783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pos="5534">
          <p15:clr>
            <a:srgbClr val="FBAE40"/>
          </p15:clr>
        </p15:guide>
        <p15:guide id="5" orient="horz" pos="327">
          <p15:clr>
            <a:srgbClr val="FBAE40"/>
          </p15:clr>
        </p15:guide>
        <p15:guide id="6" pos="2795">
          <p15:clr>
            <a:srgbClr val="FBAE40"/>
          </p15:clr>
        </p15:guide>
        <p15:guide id="7" pos="2965">
          <p15:clr>
            <a:srgbClr val="FBAE40"/>
          </p15:clr>
        </p15:guide>
        <p15:guide id="8" orient="horz" pos="84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Body slide - 2 text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92880" y="26955"/>
            <a:ext cx="8497093" cy="101629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Body slide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287339" y="1347789"/>
            <a:ext cx="4150122" cy="2936212"/>
          </a:xfrm>
          <a:prstGeom prst="rect">
            <a:avLst/>
          </a:prstGeom>
        </p:spPr>
        <p:txBody>
          <a:bodyPr lIns="0" tIns="0" rIns="0" bIns="0"/>
          <a:lstStyle>
            <a:lvl1pPr marL="342900" marR="0" indent="-34290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100" b="1" baseline="0">
                <a:solidFill>
                  <a:schemeClr val="tx1"/>
                </a:solidFill>
              </a:defRPr>
            </a:lvl1pPr>
            <a:lvl2pPr marL="628650" indent="-285750">
              <a:buFont typeface="Arial" panose="020B0604020202020204" pitchFamily="34" charset="0"/>
              <a:buChar char="•"/>
              <a:defRPr sz="2100"/>
            </a:lvl2pPr>
            <a:lvl3pPr marL="804863" indent="-176213">
              <a:buFont typeface="Arial" panose="020B0604020202020204" pitchFamily="34" charset="0"/>
              <a:buChar char="•"/>
              <a:defRPr sz="16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Your text here</a:t>
            </a:r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4706541" y="1347789"/>
            <a:ext cx="4078684" cy="2936212"/>
          </a:xfrm>
          <a:prstGeom prst="rect">
            <a:avLst/>
          </a:prstGeom>
        </p:spPr>
        <p:txBody>
          <a:bodyPr lIns="0" tIns="0" rIns="0" bIns="0"/>
          <a:lstStyle>
            <a:lvl1pPr marL="342900" marR="0" indent="-34290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100" b="1" baseline="0">
                <a:solidFill>
                  <a:schemeClr val="tx1"/>
                </a:solidFill>
              </a:defRPr>
            </a:lvl1pPr>
            <a:lvl2pPr marL="628650" indent="-285750">
              <a:buFont typeface="Arial" panose="020B0604020202020204" pitchFamily="34" charset="0"/>
              <a:buChar char="•"/>
              <a:defRPr sz="2100"/>
            </a:lvl2pPr>
            <a:lvl3pPr marL="804863" indent="-176213">
              <a:buFont typeface="Arial" panose="020B0604020202020204" pitchFamily="34" charset="0"/>
              <a:buChar char="•"/>
              <a:defRPr sz="16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Your text here</a:t>
            </a:r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0ACE9B33-D0C7-4AF1-A02A-1559773A78A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fi-FI"/>
              <a:t>dd.mm.yyyy</a:t>
            </a:r>
            <a:endParaRPr lang="en-US" dirty="0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8F7430A1-7AEB-4722-97B3-51719F60574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fi-FI" dirty="0" err="1"/>
              <a:t>Your</a:t>
            </a:r>
            <a:r>
              <a:rPr lang="fi-FI" dirty="0"/>
              <a:t> text </a:t>
            </a:r>
            <a:r>
              <a:rPr lang="fi-FI" dirty="0" err="1"/>
              <a:t>here</a:t>
            </a:r>
            <a:endParaRPr lang="fi-FI" dirty="0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75B56DD1-CE07-4F8B-9EEB-5CFC86C5CCF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Kuva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8790"/>
            <a:ext cx="2073704" cy="856800"/>
          </a:xfrm>
          <a:prstGeom prst="rect">
            <a:avLst/>
          </a:prstGeom>
        </p:spPr>
      </p:pic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4" pos="5534" userDrawn="1">
          <p15:clr>
            <a:srgbClr val="FBAE40"/>
          </p15:clr>
        </p15:guide>
        <p15:guide id="5" orient="horz" pos="327" userDrawn="1">
          <p15:clr>
            <a:srgbClr val="FBAE40"/>
          </p15:clr>
        </p15:guide>
        <p15:guide id="6" pos="2795" userDrawn="1">
          <p15:clr>
            <a:srgbClr val="FBAE40"/>
          </p15:clr>
        </p15:guide>
        <p15:guide id="7" pos="2965" userDrawn="1">
          <p15:clr>
            <a:srgbClr val="FBAE40"/>
          </p15:clr>
        </p15:guide>
        <p15:guide id="8" pos="181" userDrawn="1">
          <p15:clr>
            <a:srgbClr val="FBAE40"/>
          </p15:clr>
        </p15:guide>
        <p15:guide id="9" orient="horz" pos="84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Body slide - Black text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4710793" y="0"/>
            <a:ext cx="4433207" cy="5143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baseline="0">
                <a:solidFill>
                  <a:schemeClr val="bg1">
                    <a:lumMod val="85000"/>
                    <a:alpha val="62000"/>
                  </a:schemeClr>
                </a:solidFill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fi-FI" dirty="0" err="1"/>
              <a:t>Click</a:t>
            </a:r>
            <a:r>
              <a:rPr lang="fi-FI" dirty="0"/>
              <a:t> </a:t>
            </a:r>
            <a:r>
              <a:rPr lang="fi-FI" dirty="0" err="1"/>
              <a:t>icon</a:t>
            </a:r>
            <a:r>
              <a:rPr lang="fi-FI" dirty="0"/>
              <a:t> to </a:t>
            </a:r>
            <a:r>
              <a:rPr lang="fi-FI" dirty="0" err="1"/>
              <a:t>add</a:t>
            </a:r>
            <a:r>
              <a:rPr lang="fi-FI" dirty="0"/>
              <a:t> image</a:t>
            </a:r>
            <a:br>
              <a:rPr lang="fi-FI" dirty="0"/>
            </a:br>
            <a:br>
              <a:rPr lang="fi-FI" dirty="0"/>
            </a:br>
            <a:r>
              <a:rPr lang="fi-FI" dirty="0" err="1"/>
              <a:t>Fit</a:t>
            </a:r>
            <a:r>
              <a:rPr lang="fi-FI" dirty="0"/>
              <a:t> the image to </a:t>
            </a:r>
            <a:r>
              <a:rPr lang="fi-FI" dirty="0" err="1"/>
              <a:t>frame</a:t>
            </a:r>
            <a:r>
              <a:rPr lang="fi-FI" dirty="0"/>
              <a:t> </a:t>
            </a:r>
            <a:br>
              <a:rPr lang="fi-FI" dirty="0"/>
            </a:br>
            <a:r>
              <a:rPr lang="fi-FI" dirty="0" err="1"/>
              <a:t>by</a:t>
            </a:r>
            <a:r>
              <a:rPr lang="fi-FI" dirty="0"/>
              <a:t> </a:t>
            </a:r>
            <a:r>
              <a:rPr lang="fi-FI" dirty="0" err="1"/>
              <a:t>choosing</a:t>
            </a:r>
            <a:r>
              <a:rPr lang="fi-FI" dirty="0"/>
              <a:t>: </a:t>
            </a:r>
            <a:br>
              <a:rPr lang="fi-FI" dirty="0"/>
            </a:br>
            <a:r>
              <a:rPr lang="fi-FI" dirty="0" err="1"/>
              <a:t>crop</a:t>
            </a:r>
            <a:r>
              <a:rPr lang="fi-FI" dirty="0"/>
              <a:t>&gt;</a:t>
            </a:r>
            <a:r>
              <a:rPr lang="fi-FI" dirty="0" err="1"/>
              <a:t>fit</a:t>
            </a:r>
            <a:r>
              <a:rPr lang="fi-FI" dirty="0"/>
              <a:t> / rajaa&gt;sovita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87338" y="1358537"/>
            <a:ext cx="4052221" cy="2925463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100" b="1" smtClean="0"/>
            </a:lvl1pPr>
            <a:lvl2pPr marL="342900" indent="0">
              <a:buFontTx/>
              <a:buNone/>
              <a:defRPr sz="2100"/>
            </a:lvl2pPr>
            <a:lvl3pPr marL="628650" indent="0">
              <a:buFontTx/>
              <a:buNone/>
              <a:defRPr sz="16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Your text her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87338" y="34800"/>
            <a:ext cx="4052221" cy="10414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Body slide title</a:t>
            </a:r>
          </a:p>
        </p:txBody>
      </p:sp>
      <p:sp>
        <p:nvSpPr>
          <p:cNvPr id="6" name="Päivämäärän paikkamerkki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fi-FI"/>
              <a:t>dd.mm.yyyy</a:t>
            </a:r>
            <a:endParaRPr lang="en-US" dirty="0"/>
          </a:p>
        </p:txBody>
      </p:sp>
      <p:sp>
        <p:nvSpPr>
          <p:cNvPr id="9" name="Alatunnisteen paikkamerkki 8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i-FI" dirty="0" err="1"/>
              <a:t>Your</a:t>
            </a:r>
            <a:r>
              <a:rPr lang="fi-FI" dirty="0"/>
              <a:t> text </a:t>
            </a:r>
            <a:r>
              <a:rPr lang="fi-FI" dirty="0" err="1"/>
              <a:t>here</a:t>
            </a:r>
            <a:endParaRPr lang="fi-FI" dirty="0"/>
          </a:p>
        </p:txBody>
      </p:sp>
      <p:sp>
        <p:nvSpPr>
          <p:cNvPr id="10" name="Dian numeron paikkamerkki 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Kuva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8790"/>
            <a:ext cx="2073704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51558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Divider - Red -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13"/>
          </a:p>
        </p:txBody>
      </p:sp>
      <p:sp>
        <p:nvSpPr>
          <p:cNvPr id="6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4710793" y="0"/>
            <a:ext cx="4433207" cy="5143500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 b="1" baseline="0">
                <a:solidFill>
                  <a:schemeClr val="bg1">
                    <a:alpha val="62000"/>
                  </a:schemeClr>
                </a:solidFill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Click icon to add image.</a:t>
            </a:r>
            <a:br>
              <a:rPr lang="en-US" dirty="0"/>
            </a:br>
            <a:br>
              <a:rPr lang="en-US" dirty="0"/>
            </a:br>
            <a:r>
              <a:rPr lang="fi-FI" dirty="0" err="1"/>
              <a:t>Fit</a:t>
            </a:r>
            <a:r>
              <a:rPr lang="fi-FI" dirty="0"/>
              <a:t> </a:t>
            </a:r>
            <a:r>
              <a:rPr lang="fi-FI" dirty="0" err="1"/>
              <a:t>the</a:t>
            </a:r>
            <a:r>
              <a:rPr lang="fi-FI" dirty="0"/>
              <a:t> image to </a:t>
            </a:r>
            <a:r>
              <a:rPr lang="fi-FI" dirty="0" err="1"/>
              <a:t>frame</a:t>
            </a:r>
            <a:r>
              <a:rPr lang="fi-FI" dirty="0"/>
              <a:t> </a:t>
            </a:r>
            <a:br>
              <a:rPr lang="fi-FI" dirty="0"/>
            </a:br>
            <a:r>
              <a:rPr lang="fi-FI" dirty="0" err="1"/>
              <a:t>by</a:t>
            </a:r>
            <a:r>
              <a:rPr lang="fi-FI" dirty="0"/>
              <a:t> </a:t>
            </a:r>
            <a:r>
              <a:rPr lang="fi-FI" dirty="0" err="1"/>
              <a:t>choosing</a:t>
            </a:r>
            <a:r>
              <a:rPr lang="fi-FI" dirty="0"/>
              <a:t>: </a:t>
            </a:r>
            <a:br>
              <a:rPr lang="fi-FI" dirty="0"/>
            </a:br>
            <a:r>
              <a:rPr lang="fi-FI" dirty="0" err="1"/>
              <a:t>crop</a:t>
            </a:r>
            <a:r>
              <a:rPr lang="fi-FI" dirty="0"/>
              <a:t>&gt;</a:t>
            </a:r>
            <a:r>
              <a:rPr lang="fi-FI" dirty="0" err="1"/>
              <a:t>fit</a:t>
            </a:r>
            <a:r>
              <a:rPr lang="fi-FI" dirty="0"/>
              <a:t> / rajaa&gt;sovita</a:t>
            </a:r>
            <a:endParaRPr lang="en-US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04E326D0-D397-4DCF-88BA-ADD90C3D5C3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/>
              <a:t>dd.mm.yyyy</a:t>
            </a:r>
            <a:endParaRPr lang="en-US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0B124AD7-04E5-4E26-A7E3-6E499B81497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 err="1"/>
              <a:t>Your</a:t>
            </a:r>
            <a:r>
              <a:rPr lang="fi-FI" dirty="0"/>
              <a:t> text </a:t>
            </a:r>
            <a:r>
              <a:rPr lang="fi-FI" dirty="0" err="1"/>
              <a:t>here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39BEBFE-6A3C-4862-B3C0-DF2EC5E8CB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CC9C0A2-E518-4F61-BACC-25E3255118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19113"/>
            <a:ext cx="4218160" cy="37675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300" b="1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orem </a:t>
            </a:r>
            <a:r>
              <a:rPr lang="fi-FI" dirty="0" err="1"/>
              <a:t>ipsum</a:t>
            </a:r>
            <a:r>
              <a:rPr lang="fi-FI" dirty="0"/>
              <a:t> </a:t>
            </a:r>
            <a:r>
              <a:rPr lang="fi-FI" dirty="0" err="1"/>
              <a:t>dolor</a:t>
            </a:r>
            <a:r>
              <a:rPr lang="fi-FI" dirty="0"/>
              <a:t> </a:t>
            </a:r>
            <a:r>
              <a:rPr lang="fi-FI" dirty="0" err="1"/>
              <a:t>sit</a:t>
            </a:r>
            <a:r>
              <a:rPr lang="fi-FI" dirty="0"/>
              <a:t> amet, </a:t>
            </a:r>
            <a:r>
              <a:rPr lang="fi-FI" dirty="0" err="1"/>
              <a:t>consectetur</a:t>
            </a:r>
            <a:r>
              <a:rPr lang="fi-FI" dirty="0"/>
              <a:t> adipiscing elit. </a:t>
            </a:r>
            <a:r>
              <a:rPr lang="fi-FI" dirty="0" err="1"/>
              <a:t>Maecenas</a:t>
            </a:r>
            <a:r>
              <a:rPr lang="fi-FI" dirty="0"/>
              <a:t> </a:t>
            </a:r>
            <a:r>
              <a:rPr lang="fi-FI" dirty="0" err="1"/>
              <a:t>velit</a:t>
            </a:r>
            <a:r>
              <a:rPr lang="fi-FI" dirty="0"/>
              <a:t> </a:t>
            </a:r>
            <a:r>
              <a:rPr lang="fi-FI" dirty="0" err="1"/>
              <a:t>velit</a:t>
            </a:r>
            <a:r>
              <a:rPr lang="fi-FI" dirty="0"/>
              <a:t>, </a:t>
            </a:r>
            <a:r>
              <a:rPr lang="fi-FI" dirty="0" err="1"/>
              <a:t>consequat</a:t>
            </a:r>
            <a:r>
              <a:rPr lang="fi-FI" dirty="0"/>
              <a:t> </a:t>
            </a:r>
            <a:r>
              <a:rPr lang="fi-FI" dirty="0" err="1"/>
              <a:t>eget</a:t>
            </a:r>
            <a:r>
              <a:rPr lang="fi-FI" dirty="0"/>
              <a:t> </a:t>
            </a:r>
            <a:r>
              <a:rPr lang="fi-FI" dirty="0" err="1"/>
              <a:t>ullamcorper</a:t>
            </a:r>
            <a:r>
              <a:rPr lang="fi-FI" dirty="0"/>
              <a:t> a, </a:t>
            </a:r>
            <a:r>
              <a:rPr lang="fi-FI" dirty="0" err="1"/>
              <a:t>maximus</a:t>
            </a:r>
            <a:r>
              <a:rPr lang="fi-FI" dirty="0"/>
              <a:t> </a:t>
            </a:r>
            <a:r>
              <a:rPr lang="fi-FI" dirty="0" err="1"/>
              <a:t>ac</a:t>
            </a:r>
            <a:r>
              <a:rPr lang="fi-FI" dirty="0"/>
              <a:t> ex.</a:t>
            </a:r>
          </a:p>
        </p:txBody>
      </p:sp>
      <p:pic>
        <p:nvPicPr>
          <p:cNvPr id="7" name="Kuva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1580"/>
            <a:ext cx="1991440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1607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Divider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066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755650" y="1759425"/>
            <a:ext cx="7669159" cy="1352265"/>
          </a:xfrm>
          <a:prstGeom prst="rect">
            <a:avLst/>
          </a:prstGeom>
        </p:spPr>
        <p:txBody>
          <a:bodyPr lIns="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 b="1" baseline="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Divider – Headline</a:t>
            </a:r>
          </a:p>
        </p:txBody>
      </p:sp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37C6C481-D72C-4B89-AA19-AC91EB21FEF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/>
              <a:t>dd.mm.yyyy</a:t>
            </a:r>
            <a:endParaRPr lang="en-US" dirty="0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2A81A4FB-6563-4C02-8A9B-51D830F1EAB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 err="1"/>
              <a:t>Your</a:t>
            </a:r>
            <a:r>
              <a:rPr lang="fi-FI" dirty="0"/>
              <a:t> text </a:t>
            </a:r>
            <a:r>
              <a:rPr lang="fi-FI" dirty="0" err="1"/>
              <a:t>here</a:t>
            </a:r>
            <a:endParaRPr lang="fi-FI" dirty="0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1F6A7C93-158F-48BA-8E95-EC2109A4B4D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Kuva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1580"/>
            <a:ext cx="1991440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54955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Body slide - Text - Red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87339" y="2615909"/>
            <a:ext cx="3015456" cy="164514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i="0" baseline="0">
                <a:solidFill>
                  <a:schemeClr val="tx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Sub Headlin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87339" y="401354"/>
            <a:ext cx="3015456" cy="17479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tx2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Body slide title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3654029" y="463696"/>
            <a:ext cx="5130402" cy="3797357"/>
          </a:xfrm>
          <a:prstGeom prst="rect">
            <a:avLst/>
          </a:prstGeom>
        </p:spPr>
        <p:txBody>
          <a:bodyPr wrap="square"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1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FontTx/>
              <a:buNone/>
              <a:defRPr sz="2100"/>
            </a:lvl2pPr>
            <a:lvl3pPr marL="628650" indent="0">
              <a:buFontTx/>
              <a:buNone/>
              <a:defRPr sz="16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Your text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9062E6-8B0E-4DB4-8209-4E7EB4F3FA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678800" y="4848629"/>
            <a:ext cx="2057400" cy="1728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5DE37A55-AE2A-40CC-8240-F6FD4F5BD0F6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6678800" y="4672740"/>
            <a:ext cx="2057400" cy="1758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fi-FI"/>
              <a:t>dd.mm.yyyy</a:t>
            </a:r>
            <a:endParaRPr lang="en-US" dirty="0"/>
          </a:p>
        </p:txBody>
      </p:sp>
      <p:sp>
        <p:nvSpPr>
          <p:cNvPr id="9" name="Alatunnisteen paikkamerkki 1">
            <a:extLst>
              <a:ext uri="{FF2B5EF4-FFF2-40B4-BE49-F238E27FC236}">
                <a16:creationId xmlns:a16="http://schemas.microsoft.com/office/drawing/2014/main" id="{AD81B084-A59A-450A-B69B-00DEBAF84E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849200"/>
            <a:ext cx="3086100" cy="17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fi-FI" dirty="0" err="1"/>
              <a:t>Your</a:t>
            </a:r>
            <a:r>
              <a:rPr lang="fi-FI" dirty="0"/>
              <a:t> text </a:t>
            </a:r>
            <a:r>
              <a:rPr lang="fi-FI" dirty="0" err="1"/>
              <a:t>here</a:t>
            </a:r>
            <a:endParaRPr lang="fi-FI" dirty="0"/>
          </a:p>
        </p:txBody>
      </p:sp>
      <p:pic>
        <p:nvPicPr>
          <p:cNvPr id="13" name="Kuva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8790"/>
            <a:ext cx="2073704" cy="856800"/>
          </a:xfrm>
          <a:prstGeom prst="rect">
            <a:avLst/>
          </a:prstGeom>
        </p:spPr>
      </p:pic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2081" userDrawn="1">
          <p15:clr>
            <a:srgbClr val="FBAE40"/>
          </p15:clr>
        </p15:guide>
        <p15:guide id="2" pos="2302" userDrawn="1">
          <p15:clr>
            <a:srgbClr val="FBAE40"/>
          </p15:clr>
        </p15:guide>
        <p15:guide id="3" pos="553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78800" y="4848629"/>
            <a:ext cx="2057400" cy="1728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678800" y="4672740"/>
            <a:ext cx="2057400" cy="1758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fi-FI"/>
              <a:t>dd.mm.yyyy</a:t>
            </a:r>
            <a:endParaRPr lang="en-US" dirty="0"/>
          </a:p>
        </p:txBody>
      </p:sp>
      <p:sp>
        <p:nvSpPr>
          <p:cNvPr id="2" name="Alatunnisteen paikkamerkki 1">
            <a:extLst>
              <a:ext uri="{FF2B5EF4-FFF2-40B4-BE49-F238E27FC236}">
                <a16:creationId xmlns:a16="http://schemas.microsoft.com/office/drawing/2014/main" id="{1C150BC1-EEBC-48B9-AEAE-962A54F46F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849200"/>
            <a:ext cx="3086100" cy="17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fi-FI" dirty="0" err="1"/>
              <a:t>Your</a:t>
            </a:r>
            <a:r>
              <a:rPr lang="fi-FI" dirty="0"/>
              <a:t> text </a:t>
            </a:r>
            <a:r>
              <a:rPr lang="fi-FI" dirty="0" err="1"/>
              <a:t>her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833754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50" r:id="rId2"/>
    <p:sldLayoutId id="2147483704" r:id="rId3"/>
    <p:sldLayoutId id="2147483708" r:id="rId4"/>
    <p:sldLayoutId id="2147483707" r:id="rId5"/>
    <p:sldLayoutId id="2147483694" r:id="rId6"/>
    <p:sldLayoutId id="2147483695" r:id="rId7"/>
    <p:sldLayoutId id="2147483702" r:id="rId8"/>
    <p:sldLayoutId id="2147483678" r:id="rId9"/>
    <p:sldLayoutId id="2147483705" r:id="rId10"/>
    <p:sldLayoutId id="2147483701" r:id="rId11"/>
    <p:sldLayoutId id="2147483697" r:id="rId12"/>
    <p:sldLayoutId id="2147483703" r:id="rId13"/>
    <p:sldLayoutId id="2147483691" r:id="rId14"/>
    <p:sldLayoutId id="2147483699" r:id="rId15"/>
    <p:sldLayoutId id="2147483679" r:id="rId16"/>
    <p:sldLayoutId id="2147483709" r:id="rId17"/>
    <p:sldLayoutId id="2147483710" r:id="rId18"/>
    <p:sldLayoutId id="2147483711" r:id="rId19"/>
    <p:sldLayoutId id="2147483712" r:id="rId20"/>
    <p:sldLayoutId id="2147483713" r:id="rId21"/>
    <p:sldLayoutId id="2147483714" r:id="rId22"/>
    <p:sldLayoutId id="2147483715" r:id="rId23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81" userDrawn="1">
          <p15:clr>
            <a:srgbClr val="F26B43"/>
          </p15:clr>
        </p15:guide>
        <p15:guide id="3" orient="horz" pos="32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056956" y="4515966"/>
            <a:ext cx="3619500" cy="1190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"/>
          </p:nvPr>
        </p:nvSpPr>
        <p:spPr>
          <a:xfrm>
            <a:off x="5056956" y="4635029"/>
            <a:ext cx="3619500" cy="13930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ED520173-7D7F-4FBC-A781-33E654CAA422}" type="datetime1">
              <a:rPr lang="fi-FI" smtClean="0"/>
              <a:t>25.5.2019</a:t>
            </a:fld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5056956" y="4774333"/>
            <a:ext cx="3619500" cy="121444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05BCDE0-955E-2A43-932A-046BF80DB991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381020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</p:sldLayoutIdLst>
  <p:hf hdr="0" ftr="0"/>
  <p:txStyles>
    <p:titleStyle>
      <a:lvl1pPr algn="ctr" defTabSz="411480" rtl="0" eaLnBrk="1" fontAlgn="base" hangingPunct="1">
        <a:spcBef>
          <a:spcPct val="0"/>
        </a:spcBef>
        <a:spcAft>
          <a:spcPct val="0"/>
        </a:spcAft>
        <a:defRPr sz="3960" kern="1200">
          <a:solidFill>
            <a:schemeClr val="tx1"/>
          </a:solidFill>
          <a:latin typeface="+mj-lt"/>
          <a:ea typeface="ＭＳ Ｐゴシック" charset="0"/>
          <a:cs typeface="MS PGothic" pitchFamily="34" charset="-128"/>
        </a:defRPr>
      </a:lvl1pPr>
      <a:lvl2pPr algn="ctr" defTabSz="411480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2pPr>
      <a:lvl3pPr algn="ctr" defTabSz="411480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3pPr>
      <a:lvl4pPr algn="ctr" defTabSz="411480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4pPr>
      <a:lvl5pPr algn="ctr" defTabSz="411480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5pPr>
      <a:lvl6pPr marL="411480" algn="ctr" defTabSz="411480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6pPr>
      <a:lvl7pPr marL="822960" algn="ctr" defTabSz="411480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7pPr>
      <a:lvl8pPr marL="1234440" algn="ctr" defTabSz="411480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8pPr>
      <a:lvl9pPr marL="1645920" algn="ctr" defTabSz="411480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9pPr>
    </p:titleStyle>
    <p:bodyStyle>
      <a:lvl1pPr marL="308610" indent="-308610" algn="l" defTabSz="41148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88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1pPr>
      <a:lvl2pPr marL="668655" indent="-257175" algn="l" defTabSz="41148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52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028700" indent="-205740" algn="l" defTabSz="41148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16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3pPr>
      <a:lvl4pPr marL="1440180" indent="-205740" algn="l" defTabSz="41148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8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1851660" indent="-205740" algn="l" defTabSz="41148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80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5pPr>
      <a:lvl6pPr marL="226314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7462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8610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97580" indent="-205740" algn="l" defTabSz="41148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44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40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88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36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840" algn="l" defTabSz="41148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2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7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28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26" Type="http://schemas.openxmlformats.org/officeDocument/2006/relationships/tags" Target="../tags/tag36.xml"/><Relationship Id="rId39" Type="http://schemas.openxmlformats.org/officeDocument/2006/relationships/tags" Target="../tags/tag49.xml"/><Relationship Id="rId21" Type="http://schemas.openxmlformats.org/officeDocument/2006/relationships/tags" Target="../tags/tag31.xml"/><Relationship Id="rId34" Type="http://schemas.openxmlformats.org/officeDocument/2006/relationships/tags" Target="../tags/tag44.xml"/><Relationship Id="rId42" Type="http://schemas.openxmlformats.org/officeDocument/2006/relationships/tags" Target="../tags/tag52.xml"/><Relationship Id="rId47" Type="http://schemas.openxmlformats.org/officeDocument/2006/relationships/oleObject" Target="../embeddings/oleObject8.bin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9" Type="http://schemas.openxmlformats.org/officeDocument/2006/relationships/tags" Target="../tags/tag39.xml"/><Relationship Id="rId11" Type="http://schemas.openxmlformats.org/officeDocument/2006/relationships/tags" Target="../tags/tag21.xml"/><Relationship Id="rId24" Type="http://schemas.openxmlformats.org/officeDocument/2006/relationships/tags" Target="../tags/tag34.xml"/><Relationship Id="rId32" Type="http://schemas.openxmlformats.org/officeDocument/2006/relationships/tags" Target="../tags/tag42.xml"/><Relationship Id="rId37" Type="http://schemas.openxmlformats.org/officeDocument/2006/relationships/tags" Target="../tags/tag47.xml"/><Relationship Id="rId40" Type="http://schemas.openxmlformats.org/officeDocument/2006/relationships/tags" Target="../tags/tag50.xml"/><Relationship Id="rId45" Type="http://schemas.openxmlformats.org/officeDocument/2006/relationships/tags" Target="../tags/tag55.xml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tags" Target="../tags/tag38.xml"/><Relationship Id="rId36" Type="http://schemas.openxmlformats.org/officeDocument/2006/relationships/tags" Target="../tags/tag46.xml"/><Relationship Id="rId49" Type="http://schemas.openxmlformats.org/officeDocument/2006/relationships/chart" Target="../charts/chart1.xml"/><Relationship Id="rId10" Type="http://schemas.openxmlformats.org/officeDocument/2006/relationships/tags" Target="../tags/tag20.xml"/><Relationship Id="rId19" Type="http://schemas.openxmlformats.org/officeDocument/2006/relationships/tags" Target="../tags/tag29.xml"/><Relationship Id="rId31" Type="http://schemas.openxmlformats.org/officeDocument/2006/relationships/tags" Target="../tags/tag41.xml"/><Relationship Id="rId44" Type="http://schemas.openxmlformats.org/officeDocument/2006/relationships/tags" Target="../tags/tag54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tags" Target="../tags/tag37.xml"/><Relationship Id="rId30" Type="http://schemas.openxmlformats.org/officeDocument/2006/relationships/tags" Target="../tags/tag40.xml"/><Relationship Id="rId35" Type="http://schemas.openxmlformats.org/officeDocument/2006/relationships/tags" Target="../tags/tag45.xml"/><Relationship Id="rId43" Type="http://schemas.openxmlformats.org/officeDocument/2006/relationships/tags" Target="../tags/tag53.xml"/><Relationship Id="rId48" Type="http://schemas.openxmlformats.org/officeDocument/2006/relationships/image" Target="../media/image22.emf"/><Relationship Id="rId8" Type="http://schemas.openxmlformats.org/officeDocument/2006/relationships/tags" Target="../tags/tag18.xml"/><Relationship Id="rId3" Type="http://schemas.openxmlformats.org/officeDocument/2006/relationships/tags" Target="../tags/tag13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tags" Target="../tags/tag35.xml"/><Relationship Id="rId33" Type="http://schemas.openxmlformats.org/officeDocument/2006/relationships/tags" Target="../tags/tag43.xml"/><Relationship Id="rId38" Type="http://schemas.openxmlformats.org/officeDocument/2006/relationships/tags" Target="../tags/tag48.xml"/><Relationship Id="rId46" Type="http://schemas.openxmlformats.org/officeDocument/2006/relationships/slideLayout" Target="../slideLayouts/slideLayout3.xml"/><Relationship Id="rId20" Type="http://schemas.openxmlformats.org/officeDocument/2006/relationships/tags" Target="../tags/tag30.xml"/><Relationship Id="rId41" Type="http://schemas.openxmlformats.org/officeDocument/2006/relationships/tags" Target="../tags/tag51.xml"/><Relationship Id="rId1" Type="http://schemas.openxmlformats.org/officeDocument/2006/relationships/vmlDrawing" Target="../drawings/vmlDrawing8.vml"/><Relationship Id="rId6" Type="http://schemas.openxmlformats.org/officeDocument/2006/relationships/tags" Target="../tags/tag1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tags" Target="../tags/tag67.xml"/><Relationship Id="rId18" Type="http://schemas.openxmlformats.org/officeDocument/2006/relationships/tags" Target="../tags/tag72.xml"/><Relationship Id="rId3" Type="http://schemas.openxmlformats.org/officeDocument/2006/relationships/tags" Target="../tags/tag57.xml"/><Relationship Id="rId21" Type="http://schemas.openxmlformats.org/officeDocument/2006/relationships/image" Target="../media/image22.emf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17" Type="http://schemas.openxmlformats.org/officeDocument/2006/relationships/tags" Target="../tags/tag71.xml"/><Relationship Id="rId2" Type="http://schemas.openxmlformats.org/officeDocument/2006/relationships/tags" Target="../tags/tag56.xml"/><Relationship Id="rId16" Type="http://schemas.openxmlformats.org/officeDocument/2006/relationships/tags" Target="../tags/tag70.xml"/><Relationship Id="rId20" Type="http://schemas.openxmlformats.org/officeDocument/2006/relationships/oleObject" Target="../embeddings/oleObject9.bin"/><Relationship Id="rId1" Type="http://schemas.openxmlformats.org/officeDocument/2006/relationships/vmlDrawing" Target="../drawings/vmlDrawing9.v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5" Type="http://schemas.openxmlformats.org/officeDocument/2006/relationships/tags" Target="../tags/tag59.xml"/><Relationship Id="rId15" Type="http://schemas.openxmlformats.org/officeDocument/2006/relationships/tags" Target="../tags/tag69.xml"/><Relationship Id="rId10" Type="http://schemas.openxmlformats.org/officeDocument/2006/relationships/tags" Target="../tags/tag64.xml"/><Relationship Id="rId19" Type="http://schemas.openxmlformats.org/officeDocument/2006/relationships/slideLayout" Target="../slideLayouts/slideLayout3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tags" Target="../tags/tag68.xml"/><Relationship Id="rId22" Type="http://schemas.openxmlformats.org/officeDocument/2006/relationships/chart" Target="../charts/char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18" Type="http://schemas.openxmlformats.org/officeDocument/2006/relationships/tags" Target="../tags/tag89.xml"/><Relationship Id="rId3" Type="http://schemas.openxmlformats.org/officeDocument/2006/relationships/tags" Target="../tags/tag74.xml"/><Relationship Id="rId21" Type="http://schemas.openxmlformats.org/officeDocument/2006/relationships/image" Target="../media/image22.emf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17" Type="http://schemas.openxmlformats.org/officeDocument/2006/relationships/tags" Target="../tags/tag88.xml"/><Relationship Id="rId2" Type="http://schemas.openxmlformats.org/officeDocument/2006/relationships/tags" Target="../tags/tag73.xml"/><Relationship Id="rId16" Type="http://schemas.openxmlformats.org/officeDocument/2006/relationships/tags" Target="../tags/tag87.xml"/><Relationship Id="rId20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tags" Target="../tags/tag86.xml"/><Relationship Id="rId10" Type="http://schemas.openxmlformats.org/officeDocument/2006/relationships/tags" Target="../tags/tag81.xml"/><Relationship Id="rId19" Type="http://schemas.openxmlformats.org/officeDocument/2006/relationships/slideLayout" Target="../slideLayouts/slideLayout3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tags" Target="../tags/tag85.xml"/><Relationship Id="rId22" Type="http://schemas.openxmlformats.org/officeDocument/2006/relationships/chart" Target="../charts/chart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tags" Target="../tags/tag101.xml"/><Relationship Id="rId18" Type="http://schemas.openxmlformats.org/officeDocument/2006/relationships/tags" Target="../tags/tag106.xml"/><Relationship Id="rId3" Type="http://schemas.openxmlformats.org/officeDocument/2006/relationships/tags" Target="../tags/tag91.xml"/><Relationship Id="rId21" Type="http://schemas.openxmlformats.org/officeDocument/2006/relationships/image" Target="../media/image22.emf"/><Relationship Id="rId7" Type="http://schemas.openxmlformats.org/officeDocument/2006/relationships/tags" Target="../tags/tag95.xml"/><Relationship Id="rId12" Type="http://schemas.openxmlformats.org/officeDocument/2006/relationships/tags" Target="../tags/tag100.xml"/><Relationship Id="rId17" Type="http://schemas.openxmlformats.org/officeDocument/2006/relationships/tags" Target="../tags/tag105.xml"/><Relationship Id="rId2" Type="http://schemas.openxmlformats.org/officeDocument/2006/relationships/tags" Target="../tags/tag90.xml"/><Relationship Id="rId16" Type="http://schemas.openxmlformats.org/officeDocument/2006/relationships/tags" Target="../tags/tag104.xml"/><Relationship Id="rId20" Type="http://schemas.openxmlformats.org/officeDocument/2006/relationships/oleObject" Target="../embeddings/oleObject11.bin"/><Relationship Id="rId1" Type="http://schemas.openxmlformats.org/officeDocument/2006/relationships/vmlDrawing" Target="../drawings/vmlDrawing11.vml"/><Relationship Id="rId6" Type="http://schemas.openxmlformats.org/officeDocument/2006/relationships/tags" Target="../tags/tag94.xml"/><Relationship Id="rId11" Type="http://schemas.openxmlformats.org/officeDocument/2006/relationships/tags" Target="../tags/tag99.xml"/><Relationship Id="rId5" Type="http://schemas.openxmlformats.org/officeDocument/2006/relationships/tags" Target="../tags/tag93.xml"/><Relationship Id="rId15" Type="http://schemas.openxmlformats.org/officeDocument/2006/relationships/tags" Target="../tags/tag103.xml"/><Relationship Id="rId10" Type="http://schemas.openxmlformats.org/officeDocument/2006/relationships/tags" Target="../tags/tag98.xml"/><Relationship Id="rId19" Type="http://schemas.openxmlformats.org/officeDocument/2006/relationships/slideLayout" Target="../slideLayouts/slideLayout3.xml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tags" Target="../tags/tag102.xml"/><Relationship Id="rId22" Type="http://schemas.openxmlformats.org/officeDocument/2006/relationships/chart" Target="../charts/char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3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3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5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3054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42398" y="896699"/>
            <a:ext cx="4716079" cy="570773"/>
          </a:xfrm>
        </p:spPr>
        <p:txBody>
          <a:bodyPr/>
          <a:lstStyle/>
          <a:p>
            <a:r>
              <a:rPr lang="en-US" dirty="0"/>
              <a:t>Education funding in universities</a:t>
            </a:r>
            <a:endParaRPr lang="fi-FI" dirty="0"/>
          </a:p>
        </p:txBody>
      </p:sp>
      <p:sp>
        <p:nvSpPr>
          <p:cNvPr id="3" name="Tekstin paikkamerkki 2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11"/>
          </p:nvPr>
        </p:nvSpPr>
        <p:spPr/>
        <p:txBody>
          <a:bodyPr/>
          <a:lstStyle/>
          <a:p>
            <a:r>
              <a:rPr lang="en-US" dirty="0"/>
              <a:t>Jussi Välimäki	</a:t>
            </a:r>
            <a:endParaRPr lang="fi-FI" dirty="0"/>
          </a:p>
        </p:txBody>
      </p:sp>
      <p:sp>
        <p:nvSpPr>
          <p:cNvPr id="5" name="Tekstin paikkamerkki 4"/>
          <p:cNvSpPr>
            <a:spLocks noGrp="1"/>
          </p:cNvSpPr>
          <p:nvPr>
            <p:ph type="body" sz="half" idx="12"/>
          </p:nvPr>
        </p:nvSpPr>
        <p:spPr/>
        <p:txBody>
          <a:bodyPr/>
          <a:lstStyle/>
          <a:p>
            <a:r>
              <a:rPr lang="en-US" dirty="0"/>
              <a:t>23.5.2019</a:t>
            </a:r>
            <a:endParaRPr lang="fi-FI" dirty="0"/>
          </a:p>
        </p:txBody>
      </p:sp>
      <p:sp>
        <p:nvSpPr>
          <p:cNvPr id="6" name="Kuvan paikkamerkki 5"/>
          <p:cNvSpPr>
            <a:spLocks noGrp="1"/>
          </p:cNvSpPr>
          <p:nvPr>
            <p:ph type="pic" idx="13"/>
          </p:nvPr>
        </p:nvSpPr>
        <p:spPr/>
      </p:sp>
      <p:cxnSp>
        <p:nvCxnSpPr>
          <p:cNvPr id="7" name="Suora yhdysviiva 6">
            <a:extLst>
              <a:ext uri="{FF2B5EF4-FFF2-40B4-BE49-F238E27FC236}">
                <a16:creationId xmlns:a16="http://schemas.microsoft.com/office/drawing/2014/main" id="{44D42085-CC57-854B-9151-3C66E83D17EE}"/>
              </a:ext>
            </a:extLst>
          </p:cNvPr>
          <p:cNvCxnSpPr/>
          <p:nvPr/>
        </p:nvCxnSpPr>
        <p:spPr>
          <a:xfrm>
            <a:off x="442398" y="1588362"/>
            <a:ext cx="379683" cy="0"/>
          </a:xfrm>
          <a:prstGeom prst="line">
            <a:avLst/>
          </a:prstGeom>
          <a:ln w="571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03096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JuFo</a:t>
            </a:r>
            <a:r>
              <a:rPr lang="en-US" dirty="0"/>
              <a:t> points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24CBB682-87B2-4236-AF78-B49807E7713E}" type="datetime1">
              <a:rPr lang="fi-FI" smtClean="0"/>
              <a:t>25.5.2019</a:t>
            </a:fld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49EFD4B7-1CC6-864B-A72A-C978B70BBA9B}" type="slidenum">
              <a:rPr lang="fi-FI" smtClean="0"/>
              <a:pPr>
                <a:defRPr/>
              </a:pPr>
              <a:t>10</a:t>
            </a:fld>
            <a:endParaRPr lang="fi-FI"/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sz="quarter" idx="14"/>
          </p:nvPr>
        </p:nvPicPr>
        <p:blipFill rotWithShape="1">
          <a:blip r:embed="rId2"/>
          <a:srcRect r="46431"/>
          <a:stretch/>
        </p:blipFill>
        <p:spPr>
          <a:xfrm>
            <a:off x="1935266" y="821956"/>
            <a:ext cx="3738457" cy="3509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5598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half" idx="10"/>
          </p:nvPr>
        </p:nvSpPr>
        <p:spPr/>
        <p:txBody>
          <a:bodyPr/>
          <a:lstStyle/>
          <a:p>
            <a:r>
              <a:rPr lang="en-US" dirty="0"/>
              <a:t>Price per unit</a:t>
            </a:r>
            <a:endParaRPr lang="fi-FI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7550971"/>
              </p:ext>
            </p:extLst>
          </p:nvPr>
        </p:nvGraphicFramePr>
        <p:xfrm>
          <a:off x="388883" y="821789"/>
          <a:ext cx="6096000" cy="18796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322564360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3418879676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4234301526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28542900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achelors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On time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On time +1yr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Later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78149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Group</a:t>
                      </a:r>
                      <a:r>
                        <a:rPr lang="en-US" baseline="0" dirty="0"/>
                        <a:t> 1 (e.g. business)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i-FI" sz="1600" b="0" i="0" u="none" strike="noStrike" dirty="0">
                          <a:effectLst/>
                          <a:latin typeface="Arial" panose="020B0604020202020204" pitchFamily="34" charset="0"/>
                        </a:rPr>
                        <a:t>12 923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i-FI" sz="1600" b="0" i="0" u="none" strike="noStrike">
                          <a:effectLst/>
                          <a:latin typeface="Arial" panose="020B0604020202020204" pitchFamily="34" charset="0"/>
                        </a:rPr>
                        <a:t>11 20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i-FI" sz="1600" b="0" i="0" u="none" strike="noStrike">
                          <a:effectLst/>
                          <a:latin typeface="Arial" panose="020B0604020202020204" pitchFamily="34" charset="0"/>
                        </a:rPr>
                        <a:t>8 616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28326018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Group 2 (e.g. tech)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i-FI" sz="1600" b="0" i="0" u="none" strike="noStrike">
                          <a:effectLst/>
                          <a:latin typeface="Arial" panose="020B0604020202020204" pitchFamily="34" charset="0"/>
                        </a:rPr>
                        <a:t>22 616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i-FI" sz="1600" b="0" i="0" u="none" strike="noStrike">
                          <a:effectLst/>
                          <a:latin typeface="Arial" panose="020B0604020202020204" pitchFamily="34" charset="0"/>
                        </a:rPr>
                        <a:t>19 60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i-FI" sz="1600" b="0" i="0" u="none" strike="noStrike">
                          <a:effectLst/>
                          <a:latin typeface="Arial" panose="020B0604020202020204" pitchFamily="34" charset="0"/>
                        </a:rPr>
                        <a:t>15 077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31937137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Group 3 (e.g. arts)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i-FI" sz="1600" b="0" i="0" u="none" strike="noStrike">
                          <a:effectLst/>
                          <a:latin typeface="Arial" panose="020B0604020202020204" pitchFamily="34" charset="0"/>
                        </a:rPr>
                        <a:t>38 77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i-FI" sz="1600" b="0" i="0" u="none" strike="noStrike">
                          <a:effectLst/>
                          <a:latin typeface="Arial" panose="020B0604020202020204" pitchFamily="34" charset="0"/>
                        </a:rPr>
                        <a:t>33 601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i-FI" sz="1600" b="0" i="0" u="none" strike="noStrike" dirty="0">
                          <a:effectLst/>
                          <a:latin typeface="Arial" panose="020B0604020202020204" pitchFamily="34" charset="0"/>
                        </a:rPr>
                        <a:t>25 847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2225242809"/>
                  </a:ext>
                </a:extLst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2693117"/>
              </p:ext>
            </p:extLst>
          </p:nvPr>
        </p:nvGraphicFramePr>
        <p:xfrm>
          <a:off x="2066334" y="2942658"/>
          <a:ext cx="6096000" cy="18796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322564360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3418879676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4234301526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28542900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Masters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On time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On time +1yr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Later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78149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Group</a:t>
                      </a:r>
                      <a:r>
                        <a:rPr lang="en-US" baseline="0" dirty="0"/>
                        <a:t> 1 (e.g. business)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i-FI" sz="1600" b="0" i="0" u="none" strike="noStrike" dirty="0">
                          <a:effectLst/>
                          <a:latin typeface="Arial" panose="020B0604020202020204" pitchFamily="34" charset="0"/>
                        </a:rPr>
                        <a:t>19 104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i-FI" sz="1600" b="0" i="0" u="none" strike="noStrike">
                          <a:effectLst/>
                          <a:latin typeface="Arial" panose="020B0604020202020204" pitchFamily="34" charset="0"/>
                        </a:rPr>
                        <a:t>16 557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i-FI" sz="1600" b="0" i="0" u="none" strike="noStrike">
                          <a:effectLst/>
                          <a:latin typeface="Arial" panose="020B0604020202020204" pitchFamily="34" charset="0"/>
                        </a:rPr>
                        <a:t>12 736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28326018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Group 2 (e.g. tech)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i-FI" sz="1600" b="0" i="0" u="none" strike="noStrike">
                          <a:effectLst/>
                          <a:latin typeface="Arial" panose="020B0604020202020204" pitchFamily="34" charset="0"/>
                        </a:rPr>
                        <a:t>33 432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i-FI" sz="1600" b="0" i="0" u="none" strike="noStrike">
                          <a:effectLst/>
                          <a:latin typeface="Arial" panose="020B0604020202020204" pitchFamily="34" charset="0"/>
                        </a:rPr>
                        <a:t>28 975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i-FI" sz="1600" b="0" i="0" u="none" strike="noStrike">
                          <a:effectLst/>
                          <a:latin typeface="Arial" panose="020B0604020202020204" pitchFamily="34" charset="0"/>
                        </a:rPr>
                        <a:t>22 288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31937137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Group 3 (e.g. arts)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i-FI" sz="1600" b="0" i="0" u="none" strike="noStrike">
                          <a:effectLst/>
                          <a:latin typeface="Arial" panose="020B0604020202020204" pitchFamily="34" charset="0"/>
                        </a:rPr>
                        <a:t>57 313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i-FI" sz="1600" b="0" i="0" u="none" strike="noStrike">
                          <a:effectLst/>
                          <a:latin typeface="Arial" panose="020B0604020202020204" pitchFamily="34" charset="0"/>
                        </a:rPr>
                        <a:t>49 671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fi-FI" sz="1600" b="0" i="0" u="none" strike="noStrike" dirty="0">
                          <a:effectLst/>
                          <a:latin typeface="Arial" panose="020B0604020202020204" pitchFamily="34" charset="0"/>
                        </a:rPr>
                        <a:t>38 208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22252428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360920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2843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4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mpact of new funding model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fi-FI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/>
          <a:srcRect l="26404" t="22661" r="27895" b="36170"/>
          <a:stretch/>
        </p:blipFill>
        <p:spPr>
          <a:xfrm>
            <a:off x="155775" y="687026"/>
            <a:ext cx="8357937" cy="4235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5524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6005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24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yImpact</a:t>
            </a:r>
            <a:r>
              <a:rPr lang="en-US" dirty="0"/>
              <a:t> split by category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fi-FI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/>
          <a:srcRect l="26580" t="45429" r="29824" b="14337"/>
          <a:stretch/>
        </p:blipFill>
        <p:spPr>
          <a:xfrm>
            <a:off x="364433" y="839278"/>
            <a:ext cx="7972926" cy="4138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5946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24CBB682-87B2-4236-AF78-B49807E7713E}" type="datetime1">
              <a:rPr lang="fi-FI" smtClean="0"/>
              <a:t>25.5.2019</a:t>
            </a:fld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49EFD4B7-1CC6-864B-A72A-C978B70BBA9B}" type="slidenum">
              <a:rPr lang="fi-FI" smtClean="0"/>
              <a:pPr>
                <a:defRPr/>
              </a:pPr>
              <a:t>14</a:t>
            </a:fld>
            <a:endParaRPr lang="fi-FI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l="7870" t="14300" r="21256" b="5900"/>
          <a:stretch/>
        </p:blipFill>
        <p:spPr>
          <a:xfrm>
            <a:off x="457200" y="0"/>
            <a:ext cx="8121316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6372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1080060"/>
              </p:ext>
            </p:extLst>
          </p:nvPr>
        </p:nvGraphicFramePr>
        <p:xfrm>
          <a:off x="458629" y="1429"/>
          <a:ext cx="1429" cy="14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47" imgW="592" imgH="595" progId="TCLayout.ActiveDocument.1">
                  <p:embed/>
                </p:oleObj>
              </mc:Choice>
              <mc:Fallback>
                <p:oleObj name="think-cell Slide" r:id="rId47" imgW="592" imgH="595" progId="TCLayout.ActiveDocument.1">
                  <p:embed/>
                  <p:pic>
                    <p:nvPicPr>
                      <p:cNvPr id="27" name="Object 26" hidden="1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458629" y="1429"/>
                        <a:ext cx="1429" cy="14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457200" y="0"/>
            <a:ext cx="142875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fi-FI" sz="9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10"/>
          </p:nvPr>
        </p:nvSpPr>
        <p:spPr/>
        <p:txBody>
          <a:bodyPr/>
          <a:lstStyle/>
          <a:p>
            <a:r>
              <a:rPr lang="en-US" dirty="0"/>
              <a:t>KPI funding for BIZ</a:t>
            </a:r>
            <a:endParaRPr lang="fi-FI" dirty="0"/>
          </a:p>
        </p:txBody>
      </p:sp>
      <p:graphicFrame>
        <p:nvGraphicFramePr>
          <p:cNvPr id="58" name="Chart 57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1424370"/>
              </p:ext>
            </p:extLst>
          </p:nvPr>
        </p:nvGraphicFramePr>
        <p:xfrm>
          <a:off x="1774825" y="773113"/>
          <a:ext cx="3663950" cy="41386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cxnSp>
        <p:nvCxnSpPr>
          <p:cNvPr id="89" name="Straight Connector 88"/>
          <p:cNvCxnSpPr/>
          <p:nvPr>
            <p:custDataLst>
              <p:tags r:id="rId5"/>
            </p:custDataLst>
          </p:nvPr>
        </p:nvCxnSpPr>
        <p:spPr bwMode="auto">
          <a:xfrm>
            <a:off x="5151437" y="1109663"/>
            <a:ext cx="420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/>
          <p:nvPr>
            <p:custDataLst>
              <p:tags r:id="rId6"/>
            </p:custDataLst>
          </p:nvPr>
        </p:nvCxnSpPr>
        <p:spPr bwMode="auto">
          <a:xfrm flipV="1">
            <a:off x="5529263" y="1106487"/>
            <a:ext cx="0" cy="301625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/>
          <p:nvPr>
            <p:custDataLst>
              <p:tags r:id="rId7"/>
            </p:custDataLst>
          </p:nvPr>
        </p:nvCxnSpPr>
        <p:spPr bwMode="auto">
          <a:xfrm>
            <a:off x="5151437" y="4119563"/>
            <a:ext cx="4206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>
            <p:custDataLst>
              <p:tags r:id="rId8"/>
            </p:custDataLst>
          </p:nvPr>
        </p:nvCxnSpPr>
        <p:spPr bwMode="auto">
          <a:xfrm flipH="1">
            <a:off x="2473324" y="3960813"/>
            <a:ext cx="77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9"/>
            </p:custDataLst>
          </p:nvPr>
        </p:nvCxnSpPr>
        <p:spPr bwMode="auto">
          <a:xfrm>
            <a:off x="1974850" y="4310063"/>
            <a:ext cx="46038" cy="1428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10"/>
            </p:custDataLst>
          </p:nvPr>
        </p:nvCxnSpPr>
        <p:spPr bwMode="auto">
          <a:xfrm flipH="1">
            <a:off x="2473324" y="4452938"/>
            <a:ext cx="77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11"/>
            </p:custDataLst>
          </p:nvPr>
        </p:nvCxnSpPr>
        <p:spPr bwMode="auto">
          <a:xfrm flipH="1">
            <a:off x="4216399" y="3938588"/>
            <a:ext cx="77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>
            <p:custDataLst>
              <p:tags r:id="rId12"/>
            </p:custDataLst>
          </p:nvPr>
        </p:nvCxnSpPr>
        <p:spPr bwMode="auto">
          <a:xfrm flipH="1">
            <a:off x="4216399" y="4476750"/>
            <a:ext cx="77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/>
          <p:nvPr>
            <p:custDataLst>
              <p:tags r:id="rId13"/>
            </p:custDataLst>
          </p:nvPr>
        </p:nvCxnSpPr>
        <p:spPr bwMode="auto">
          <a:xfrm flipH="1">
            <a:off x="3344862" y="4037013"/>
            <a:ext cx="77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14"/>
            </p:custDataLst>
          </p:nvPr>
        </p:nvCxnSpPr>
        <p:spPr bwMode="auto">
          <a:xfrm flipH="1">
            <a:off x="3344862" y="4462463"/>
            <a:ext cx="77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15"/>
            </p:custDataLst>
          </p:nvPr>
        </p:nvCxnSpPr>
        <p:spPr bwMode="auto">
          <a:xfrm flipH="1">
            <a:off x="5087937" y="3960813"/>
            <a:ext cx="77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16"/>
            </p:custDataLst>
          </p:nvPr>
        </p:nvCxnSpPr>
        <p:spPr bwMode="auto">
          <a:xfrm flipH="1">
            <a:off x="5087937" y="4486275"/>
            <a:ext cx="777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/>
          <p:cNvSpPr/>
          <p:nvPr>
            <p:custDataLst>
              <p:tags r:id="rId17"/>
            </p:custDataLst>
          </p:nvPr>
        </p:nvSpPr>
        <p:spPr bwMode="auto">
          <a:xfrm>
            <a:off x="869950" y="4037014"/>
            <a:ext cx="1079500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A265B6B-E152-43D1-9BC0-3D8901C218D9}" type="datetime'Empl''oy''''e''''''''''d'''''''''' ''gr''''ad''ua''''tes '''''">
              <a:rPr lang="fi-FI" altLang="en-US" sz="90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Employed graduates </a:t>
            </a:fld>
            <a:endParaRPr lang="fi-FI" sz="900">
              <a:solidFill>
                <a:schemeClr val="tx1"/>
              </a:solidFill>
              <a:sym typeface="+mn-lt"/>
            </a:endParaRPr>
          </a:p>
        </p:txBody>
      </p:sp>
      <p:sp>
        <p:nvSpPr>
          <p:cNvPr id="32" name="Rectangle 31"/>
          <p:cNvSpPr/>
          <p:nvPr>
            <p:custDataLst>
              <p:tags r:id="rId18"/>
            </p:custDataLst>
          </p:nvPr>
        </p:nvSpPr>
        <p:spPr bwMode="auto">
          <a:xfrm>
            <a:off x="546099" y="3849689"/>
            <a:ext cx="1403350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9DFF914-7496-4D74-BB35-3EA796B7D87F}" type="datetime'''''''''M''ast''''er''s by'''' f''orei''gn'''' stud''ent''s'''">
              <a:rPr lang="fi-FI" altLang="en-US" sz="90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Masters by foreign students</a:t>
            </a:fld>
            <a:endParaRPr lang="fi-FI" sz="900">
              <a:solidFill>
                <a:schemeClr val="tx1"/>
              </a:solidFill>
              <a:sym typeface="+mn-lt"/>
            </a:endParaRPr>
          </a:p>
        </p:txBody>
      </p:sp>
      <p:sp>
        <p:nvSpPr>
          <p:cNvPr id="22" name="Rectangle 21"/>
          <p:cNvSpPr/>
          <p:nvPr>
            <p:custDataLst>
              <p:tags r:id="rId19"/>
            </p:custDataLst>
          </p:nvPr>
        </p:nvSpPr>
        <p:spPr bwMode="gray">
          <a:xfrm>
            <a:off x="2124075" y="4497388"/>
            <a:ext cx="95250" cy="123825"/>
          </a:xfrm>
          <a:prstGeom prst="rect">
            <a:avLst/>
          </a:prstGeom>
          <a:solidFill>
            <a:srgbClr val="4C6C9C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717" tIns="0" rIns="15717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ACC5641-9FCB-4B0A-8E63-A46BAE7BE767}" type="datetime'''0'''''''''''''''''''''''''''''''''''">
              <a:rPr lang="fi-FI" altLang="en-US" sz="90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fi-FI" sz="900">
              <a:solidFill>
                <a:schemeClr val="bg1"/>
              </a:solidFill>
              <a:sym typeface="+mn-lt"/>
            </a:endParaRPr>
          </a:p>
        </p:txBody>
      </p:sp>
      <p:sp>
        <p:nvSpPr>
          <p:cNvPr id="75" name="Rectangle 74"/>
          <p:cNvSpPr/>
          <p:nvPr>
            <p:custDataLst>
              <p:tags r:id="rId20"/>
            </p:custDataLst>
          </p:nvPr>
        </p:nvSpPr>
        <p:spPr bwMode="gray">
          <a:xfrm>
            <a:off x="4046538" y="4478338"/>
            <a:ext cx="222250" cy="123825"/>
          </a:xfrm>
          <a:prstGeom prst="rect">
            <a:avLst/>
          </a:prstGeom>
          <a:solidFill>
            <a:srgbClr val="6F8DB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717" tIns="0" rIns="15717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15954A3-5CE8-431A-97DB-F3A083E7347B}" type="datetime'''3''''''''''''''''''''''''''''7''''''''''''''''7'''''''''''''">
              <a:rPr lang="fi-FI" altLang="en-US" sz="90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77</a:t>
            </a:fld>
            <a:endParaRPr lang="fi-FI" sz="900">
              <a:solidFill>
                <a:schemeClr val="bg1"/>
              </a:solidFill>
              <a:sym typeface="+mn-lt"/>
            </a:endParaRPr>
          </a:p>
        </p:txBody>
      </p:sp>
      <p:sp>
        <p:nvSpPr>
          <p:cNvPr id="40" name="Rectangle 39"/>
          <p:cNvSpPr/>
          <p:nvPr>
            <p:custDataLst>
              <p:tags r:id="rId21"/>
            </p:custDataLst>
          </p:nvPr>
        </p:nvSpPr>
        <p:spPr bwMode="gray">
          <a:xfrm>
            <a:off x="2995613" y="4505325"/>
            <a:ext cx="95250" cy="123825"/>
          </a:xfrm>
          <a:prstGeom prst="rect">
            <a:avLst/>
          </a:prstGeom>
          <a:solidFill>
            <a:srgbClr val="4C6C9C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717" tIns="0" rIns="15717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7F44E65-F33F-43A6-BF1E-E5B9BF97460F}" type="datetime'''''''''''''''''''''''''''''''''''''''''0'''''''">
              <a:rPr lang="fi-FI" altLang="en-US" sz="90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fi-FI" sz="900">
              <a:solidFill>
                <a:schemeClr val="bg1"/>
              </a:solidFill>
              <a:sym typeface="+mn-lt"/>
            </a:endParaRPr>
          </a:p>
        </p:txBody>
      </p:sp>
      <p:sp>
        <p:nvSpPr>
          <p:cNvPr id="7" name="Rectangle 6"/>
          <p:cNvSpPr/>
          <p:nvPr>
            <p:custDataLst>
              <p:tags r:id="rId22"/>
            </p:custDataLst>
          </p:nvPr>
        </p:nvSpPr>
        <p:spPr bwMode="auto">
          <a:xfrm>
            <a:off x="3886199" y="4867276"/>
            <a:ext cx="298450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7F68610-2609-4C6A-BC1F-535ABD4D8E7E}" type="datetime'''''''''''2'''''''' ''''''''''''''01''''9'''''''''">
              <a:rPr lang="fi-FI" altLang="en-US" sz="9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 019</a:t>
            </a:fld>
            <a:endParaRPr lang="fi-FI" sz="900">
              <a:solidFill>
                <a:schemeClr val="tx1"/>
              </a:solidFill>
              <a:sym typeface="+mn-lt"/>
            </a:endParaRPr>
          </a:p>
        </p:txBody>
      </p:sp>
      <p:sp>
        <p:nvSpPr>
          <p:cNvPr id="36" name="Rectangle 35"/>
          <p:cNvSpPr/>
          <p:nvPr>
            <p:custDataLst>
              <p:tags r:id="rId23"/>
            </p:custDataLst>
          </p:nvPr>
        </p:nvSpPr>
        <p:spPr bwMode="auto">
          <a:xfrm>
            <a:off x="647700" y="4429126"/>
            <a:ext cx="1301750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E605662-D5FD-4ECB-9158-F8433E7833E8}" type="datetime'O''''''''ther ''''''''co''''m''''pe''titiv''e f''und''i''''ng'">
              <a:rPr lang="fi-FI" altLang="en-US" sz="90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Other competitive funding</a:t>
            </a:fld>
            <a:endParaRPr lang="fi-FI" sz="900">
              <a:solidFill>
                <a:schemeClr val="tx1"/>
              </a:solidFill>
              <a:sym typeface="+mn-lt"/>
            </a:endParaRPr>
          </a:p>
        </p:txBody>
      </p:sp>
      <p:sp>
        <p:nvSpPr>
          <p:cNvPr id="43" name="Rectangle 42"/>
          <p:cNvSpPr/>
          <p:nvPr>
            <p:custDataLst>
              <p:tags r:id="rId24"/>
            </p:custDataLst>
          </p:nvPr>
        </p:nvSpPr>
        <p:spPr bwMode="gray">
          <a:xfrm>
            <a:off x="3867150" y="4516438"/>
            <a:ext cx="95250" cy="123825"/>
          </a:xfrm>
          <a:prstGeom prst="rect">
            <a:avLst/>
          </a:prstGeom>
          <a:solidFill>
            <a:srgbClr val="4C6C9C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717" tIns="0" rIns="15717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F8FEEF7-143C-4A7B-8BD8-4C2DECF3AE47}" type="datetime'''''''''''''''''''''''''0'''''''''''''''''''''">
              <a:rPr lang="fi-FI" altLang="en-US" sz="90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fi-FI" sz="900">
              <a:solidFill>
                <a:schemeClr val="bg1"/>
              </a:solidFill>
              <a:sym typeface="+mn-lt"/>
            </a:endParaRPr>
          </a:p>
        </p:txBody>
      </p:sp>
      <p:sp>
        <p:nvSpPr>
          <p:cNvPr id="4" name="Rectangle 3"/>
          <p:cNvSpPr/>
          <p:nvPr>
            <p:custDataLst>
              <p:tags r:id="rId25"/>
            </p:custDataLst>
          </p:nvPr>
        </p:nvSpPr>
        <p:spPr bwMode="auto">
          <a:xfrm>
            <a:off x="2143124" y="4867276"/>
            <a:ext cx="298450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8C83C45-B58A-4862-A39B-435C8CA33334}" type="datetime'''2'''''''''' ''''0''''''''''''''''''''''''''''1''7'''''">
              <a:rPr lang="fi-FI" altLang="en-US" sz="9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 017</a:t>
            </a:fld>
            <a:endParaRPr lang="fi-FI" sz="900">
              <a:solidFill>
                <a:schemeClr val="tx1"/>
              </a:solidFill>
              <a:sym typeface="+mn-lt"/>
            </a:endParaRPr>
          </a:p>
        </p:txBody>
      </p:sp>
      <p:sp>
        <p:nvSpPr>
          <p:cNvPr id="76" name="Rectangle 75"/>
          <p:cNvSpPr/>
          <p:nvPr>
            <p:custDataLst>
              <p:tags r:id="rId26"/>
            </p:custDataLst>
          </p:nvPr>
        </p:nvSpPr>
        <p:spPr bwMode="gray">
          <a:xfrm>
            <a:off x="4918075" y="4476750"/>
            <a:ext cx="222250" cy="123825"/>
          </a:xfrm>
          <a:prstGeom prst="rect">
            <a:avLst/>
          </a:prstGeom>
          <a:solidFill>
            <a:srgbClr val="6F8DB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717" tIns="0" rIns="15717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9621250-B440-4E8B-A328-0150C8878495}" type="datetime'''''''''''''''''''''''3''''''''''''''''''''''''5''''''''5'">
              <a:rPr lang="fi-FI" altLang="en-US" sz="90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55</a:t>
            </a:fld>
            <a:endParaRPr lang="fi-FI" sz="900">
              <a:solidFill>
                <a:schemeClr val="bg1"/>
              </a:solidFill>
              <a:sym typeface="+mn-lt"/>
            </a:endParaRPr>
          </a:p>
        </p:txBody>
      </p:sp>
      <p:sp>
        <p:nvSpPr>
          <p:cNvPr id="23" name="Rectangle 22"/>
          <p:cNvSpPr/>
          <p:nvPr>
            <p:custDataLst>
              <p:tags r:id="rId27"/>
            </p:custDataLst>
          </p:nvPr>
        </p:nvSpPr>
        <p:spPr bwMode="gray">
          <a:xfrm>
            <a:off x="2303463" y="4459288"/>
            <a:ext cx="222250" cy="123825"/>
          </a:xfrm>
          <a:prstGeom prst="rect">
            <a:avLst/>
          </a:prstGeom>
          <a:solidFill>
            <a:srgbClr val="6F8DB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717" tIns="0" rIns="15717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F62DC39-75EE-4B85-AE34-14F3265E1F8A}" type="datetime'3''''''''''''''''7''''''''''''5'''''''''''''''''''''''">
              <a:rPr lang="fi-FI" altLang="en-US" sz="90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75</a:t>
            </a:fld>
            <a:endParaRPr lang="fi-FI" sz="900">
              <a:solidFill>
                <a:schemeClr val="bg1"/>
              </a:solidFill>
              <a:sym typeface="+mn-lt"/>
            </a:endParaRPr>
          </a:p>
        </p:txBody>
      </p:sp>
      <p:sp>
        <p:nvSpPr>
          <p:cNvPr id="45" name="Rectangle 44"/>
          <p:cNvSpPr/>
          <p:nvPr>
            <p:custDataLst>
              <p:tags r:id="rId28"/>
            </p:custDataLst>
          </p:nvPr>
        </p:nvSpPr>
        <p:spPr bwMode="gray">
          <a:xfrm>
            <a:off x="4738688" y="4513263"/>
            <a:ext cx="95250" cy="123825"/>
          </a:xfrm>
          <a:prstGeom prst="rect">
            <a:avLst/>
          </a:prstGeom>
          <a:solidFill>
            <a:srgbClr val="4C6C9C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717" tIns="0" rIns="15717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7AFAA8B-01E3-4685-B68B-BF97BB174A47}" type="datetime'''''''''''''''''''''0'">
              <a:rPr lang="fi-FI" altLang="en-US" sz="90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fi-FI" sz="900">
              <a:solidFill>
                <a:schemeClr val="bg1"/>
              </a:solidFill>
              <a:sym typeface="+mn-lt"/>
            </a:endParaRPr>
          </a:p>
        </p:txBody>
      </p:sp>
      <p:sp>
        <p:nvSpPr>
          <p:cNvPr id="8" name="Rectangle 7"/>
          <p:cNvSpPr/>
          <p:nvPr>
            <p:custDataLst>
              <p:tags r:id="rId29"/>
            </p:custDataLst>
          </p:nvPr>
        </p:nvSpPr>
        <p:spPr bwMode="auto">
          <a:xfrm>
            <a:off x="4757737" y="4867276"/>
            <a:ext cx="298450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AF06089-C590-4DCE-9080-B92734ADCF14}" type="datetime'''''''''''2'''''''''''''''''''''' ''0''''''''2''0'">
              <a:rPr lang="fi-FI" altLang="en-US" sz="9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 020</a:t>
            </a:fld>
            <a:endParaRPr lang="fi-FI" sz="900">
              <a:solidFill>
                <a:schemeClr val="tx1"/>
              </a:solidFill>
              <a:sym typeface="+mn-lt"/>
            </a:endParaRPr>
          </a:p>
        </p:txBody>
      </p:sp>
      <p:sp>
        <p:nvSpPr>
          <p:cNvPr id="11" name="Rectangle 10"/>
          <p:cNvSpPr/>
          <p:nvPr>
            <p:custDataLst>
              <p:tags r:id="rId30"/>
            </p:custDataLst>
          </p:nvPr>
        </p:nvSpPr>
        <p:spPr bwMode="auto">
          <a:xfrm>
            <a:off x="1441450" y="1133476"/>
            <a:ext cx="508000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4055B9D-AA4C-4A61-A627-EEB26B56BD9E}" type="datetime'''''''''''''B''''a''''c''''''''''''''''''''he''''''l''''''ors'">
              <a:rPr lang="fi-FI" altLang="en-US" sz="900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Bachelors</a:t>
            </a:fld>
            <a:endParaRPr lang="fi-FI" sz="900">
              <a:solidFill>
                <a:schemeClr val="tx1"/>
              </a:solidFill>
              <a:sym typeface="+mn-lt"/>
            </a:endParaRPr>
          </a:p>
        </p:txBody>
      </p:sp>
      <p:sp>
        <p:nvSpPr>
          <p:cNvPr id="12" name="Rectangle 11"/>
          <p:cNvSpPr/>
          <p:nvPr>
            <p:custDataLst>
              <p:tags r:id="rId31"/>
            </p:custDataLst>
          </p:nvPr>
        </p:nvSpPr>
        <p:spPr bwMode="auto">
          <a:xfrm>
            <a:off x="1543049" y="1935164"/>
            <a:ext cx="406400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52C3EA7-B29B-4197-8EBE-9FCDCDD989A1}" type="datetime'''''''''M''''''a''''''st''''''''''''e''''r''s'">
              <a:rPr lang="fi-FI" altLang="en-US" sz="900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Masters</a:t>
            </a:fld>
            <a:endParaRPr lang="fi-FI" sz="900">
              <a:solidFill>
                <a:schemeClr val="tx1"/>
              </a:solidFill>
              <a:sym typeface="+mn-lt"/>
            </a:endParaRPr>
          </a:p>
        </p:txBody>
      </p:sp>
      <p:sp>
        <p:nvSpPr>
          <p:cNvPr id="28" name="Rectangle 27"/>
          <p:cNvSpPr/>
          <p:nvPr>
            <p:custDataLst>
              <p:tags r:id="rId32"/>
            </p:custDataLst>
          </p:nvPr>
        </p:nvSpPr>
        <p:spPr bwMode="auto">
          <a:xfrm>
            <a:off x="736599" y="2898776"/>
            <a:ext cx="1212850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1C7C0E2-8D57-426A-BA7E-F887DFD4A3D8}" type="datetime'St''''ude''''''n''ts ''''wi''th ''5''''''5 cr''e''d''''its'">
              <a:rPr lang="fi-FI" altLang="en-US" sz="900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Students with 55 credits</a:t>
            </a:fld>
            <a:endParaRPr lang="fi-FI" sz="900">
              <a:solidFill>
                <a:schemeClr val="tx1"/>
              </a:solidFill>
              <a:sym typeface="+mn-lt"/>
            </a:endParaRPr>
          </a:p>
        </p:txBody>
      </p:sp>
      <p:sp>
        <p:nvSpPr>
          <p:cNvPr id="30" name="Rectangle 29"/>
          <p:cNvSpPr/>
          <p:nvPr>
            <p:custDataLst>
              <p:tags r:id="rId33"/>
            </p:custDataLst>
          </p:nvPr>
        </p:nvSpPr>
        <p:spPr bwMode="auto">
          <a:xfrm>
            <a:off x="387350" y="3662364"/>
            <a:ext cx="1562100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996FCBE-11DA-417D-9949-9CB7A79C1752}" type="datetime'''''Interna''tion''a''l'' studen''t'''''' e''x''ch''an''g''e'">
              <a:rPr lang="fi-FI" altLang="en-US" sz="90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International student exchange</a:t>
            </a:fld>
            <a:endParaRPr lang="fi-FI" sz="900">
              <a:solidFill>
                <a:schemeClr val="tx1"/>
              </a:solidFill>
              <a:sym typeface="+mn-lt"/>
            </a:endParaRPr>
          </a:p>
        </p:txBody>
      </p:sp>
      <p:sp>
        <p:nvSpPr>
          <p:cNvPr id="29" name="Rectangle 28"/>
          <p:cNvSpPr/>
          <p:nvPr>
            <p:custDataLst>
              <p:tags r:id="rId34"/>
            </p:custDataLst>
          </p:nvPr>
        </p:nvSpPr>
        <p:spPr bwMode="auto">
          <a:xfrm>
            <a:off x="1060449" y="3409951"/>
            <a:ext cx="889000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CA27F19-34A1-4FC4-AD26-151642501032}" type="datetime'S''''t''u''de''n''''''t ''''''fe''e''d''b''a''c''k'">
              <a:rPr lang="fi-FI" altLang="en-US" sz="90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Student feedback</a:t>
            </a:fld>
            <a:endParaRPr lang="fi-FI" sz="900">
              <a:solidFill>
                <a:schemeClr val="tx1"/>
              </a:solidFill>
              <a:sym typeface="+mn-lt"/>
            </a:endParaRPr>
          </a:p>
        </p:txBody>
      </p:sp>
      <p:sp>
        <p:nvSpPr>
          <p:cNvPr id="41" name="Rectangle 40"/>
          <p:cNvSpPr/>
          <p:nvPr>
            <p:custDataLst>
              <p:tags r:id="rId35"/>
            </p:custDataLst>
          </p:nvPr>
        </p:nvSpPr>
        <p:spPr bwMode="gray">
          <a:xfrm>
            <a:off x="3175000" y="4468813"/>
            <a:ext cx="222250" cy="123825"/>
          </a:xfrm>
          <a:prstGeom prst="rect">
            <a:avLst/>
          </a:prstGeom>
          <a:solidFill>
            <a:srgbClr val="6F8DB9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717" tIns="0" rIns="15717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4A35D9B-5541-4187-AFC7-F30E6FDC8D35}" type="datetime'''''''''3''''''''''''''''''''''6''2'''''''''''''''''''">
              <a:rPr lang="fi-FI" altLang="en-US" sz="900">
                <a:solidFill>
                  <a:schemeClr val="bg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62</a:t>
            </a:fld>
            <a:endParaRPr lang="fi-FI" sz="900">
              <a:solidFill>
                <a:schemeClr val="bg1"/>
              </a:solidFill>
              <a:sym typeface="+mn-lt"/>
            </a:endParaRPr>
          </a:p>
        </p:txBody>
      </p:sp>
      <p:sp>
        <p:nvSpPr>
          <p:cNvPr id="35" name="Rectangle 34"/>
          <p:cNvSpPr/>
          <p:nvPr>
            <p:custDataLst>
              <p:tags r:id="rId36"/>
            </p:custDataLst>
          </p:nvPr>
        </p:nvSpPr>
        <p:spPr bwMode="auto">
          <a:xfrm>
            <a:off x="438149" y="4241801"/>
            <a:ext cx="1511300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0659AAF-05B0-4AB9-9F9F-9DF5214B35B8}" type="datetime'''I''nt''e''r''nation''a''l ''r''es''earch'''' fundi''ng'''">
              <a:rPr lang="fi-FI" altLang="en-US" sz="90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International research funding</a:t>
            </a:fld>
            <a:endParaRPr lang="fi-FI" sz="900">
              <a:solidFill>
                <a:schemeClr val="tx1"/>
              </a:solidFill>
              <a:sym typeface="+mn-lt"/>
            </a:endParaRPr>
          </a:p>
        </p:txBody>
      </p:sp>
      <p:sp>
        <p:nvSpPr>
          <p:cNvPr id="38" name="Rectangle 37"/>
          <p:cNvSpPr/>
          <p:nvPr>
            <p:custDataLst>
              <p:tags r:id="rId37"/>
            </p:custDataLst>
          </p:nvPr>
        </p:nvSpPr>
        <p:spPr bwMode="auto">
          <a:xfrm>
            <a:off x="1015999" y="4616451"/>
            <a:ext cx="933450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C6BCBE9-68FD-4DEC-9DF0-0FA6ED907B04}" type="datetime'JU''F''O ''pub''''''''l''''''''''''''''''''ic''''''ati''ons'">
              <a:rPr lang="fi-FI" altLang="en-US" sz="90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JUFO publications</a:t>
            </a:fld>
            <a:endParaRPr lang="fi-FI" sz="900">
              <a:solidFill>
                <a:schemeClr val="tx1"/>
              </a:solidFill>
              <a:sym typeface="+mn-lt"/>
            </a:endParaRPr>
          </a:p>
        </p:txBody>
      </p:sp>
      <p:sp>
        <p:nvSpPr>
          <p:cNvPr id="39" name="Rectangle 38"/>
          <p:cNvSpPr/>
          <p:nvPr>
            <p:custDataLst>
              <p:tags r:id="rId38"/>
            </p:custDataLst>
          </p:nvPr>
        </p:nvSpPr>
        <p:spPr bwMode="gray">
          <a:xfrm>
            <a:off x="2181225" y="3998913"/>
            <a:ext cx="222250" cy="123825"/>
          </a:xfrm>
          <a:prstGeom prst="rect">
            <a:avLst/>
          </a:prstGeom>
          <a:solidFill>
            <a:srgbClr val="DFE5E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717" tIns="0" rIns="15717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358A464-105D-44F4-9D55-1070BC04169B}" type="datetime'''''''''''''''''''5''''''''''1''''''7'''''''''">
              <a:rPr lang="fi-FI" altLang="en-US" sz="900">
                <a:solidFill>
                  <a:schemeClr val="tx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17</a:t>
            </a:fld>
            <a:endParaRPr lang="fi-FI" sz="900">
              <a:solidFill>
                <a:schemeClr val="tx1"/>
              </a:solidFill>
              <a:sym typeface="+mn-lt"/>
            </a:endParaRPr>
          </a:p>
        </p:txBody>
      </p:sp>
      <p:sp>
        <p:nvSpPr>
          <p:cNvPr id="6" name="Rectangle 5"/>
          <p:cNvSpPr/>
          <p:nvPr>
            <p:custDataLst>
              <p:tags r:id="rId39"/>
            </p:custDataLst>
          </p:nvPr>
        </p:nvSpPr>
        <p:spPr bwMode="auto">
          <a:xfrm>
            <a:off x="3014662" y="4867276"/>
            <a:ext cx="298450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036578F-DB35-48AA-9466-E717E6E1DA0B}" type="datetime'''''''''''''''''2'''''''''''''''' ''''0''1''''''8'''''''">
              <a:rPr lang="fi-FI" altLang="en-US" sz="9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 018</a:t>
            </a:fld>
            <a:endParaRPr lang="fi-FI" sz="900">
              <a:solidFill>
                <a:schemeClr val="tx1"/>
              </a:solidFill>
              <a:sym typeface="+mn-lt"/>
            </a:endParaRPr>
          </a:p>
        </p:txBody>
      </p:sp>
      <p:sp>
        <p:nvSpPr>
          <p:cNvPr id="13" name="Rectangle 12"/>
          <p:cNvSpPr/>
          <p:nvPr>
            <p:custDataLst>
              <p:tags r:id="rId40"/>
            </p:custDataLst>
          </p:nvPr>
        </p:nvSpPr>
        <p:spPr bwMode="gray">
          <a:xfrm>
            <a:off x="2101850" y="819150"/>
            <a:ext cx="381000" cy="1238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717" tIns="0" rIns="15717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925737F-DC43-4B9F-B973-EB85D51E654D}" type="datetime'''''''1''''''''''9'' ''''''''''''''''''''4''2''7'''''''''''''">
              <a:rPr lang="fi-FI" altLang="en-US" sz="90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9 427</a:t>
            </a:fld>
            <a:endParaRPr lang="fi-FI" sz="900">
              <a:solidFill>
                <a:schemeClr val="tx1"/>
              </a:solidFill>
              <a:sym typeface="+mn-lt"/>
            </a:endParaRPr>
          </a:p>
        </p:txBody>
      </p:sp>
      <p:sp>
        <p:nvSpPr>
          <p:cNvPr id="14" name="Rectangle 13"/>
          <p:cNvSpPr/>
          <p:nvPr>
            <p:custDataLst>
              <p:tags r:id="rId41"/>
            </p:custDataLst>
          </p:nvPr>
        </p:nvSpPr>
        <p:spPr bwMode="gray">
          <a:xfrm>
            <a:off x="2973388" y="706438"/>
            <a:ext cx="381000" cy="1238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717" tIns="0" rIns="15717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5E44C1D-FC7D-4D79-BC3F-576B69EEEF8E}" type="datetime'''1''''''''''''''''''''9 ''''''''''''''''99''''''''''''3'">
              <a:rPr lang="fi-FI" altLang="en-US" sz="90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9 993</a:t>
            </a:fld>
            <a:endParaRPr lang="fi-FI" sz="900">
              <a:solidFill>
                <a:schemeClr val="tx1"/>
              </a:solidFill>
              <a:sym typeface="+mn-lt"/>
            </a:endParaRPr>
          </a:p>
        </p:txBody>
      </p:sp>
      <p:sp>
        <p:nvSpPr>
          <p:cNvPr id="15" name="Rectangle 14"/>
          <p:cNvSpPr/>
          <p:nvPr>
            <p:custDataLst>
              <p:tags r:id="rId42"/>
            </p:custDataLst>
          </p:nvPr>
        </p:nvSpPr>
        <p:spPr bwMode="gray">
          <a:xfrm>
            <a:off x="3844925" y="833438"/>
            <a:ext cx="381000" cy="1238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717" tIns="0" rIns="15717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A677B66-1F55-4832-8FE4-D9138D21ECFB}" type="datetime'''''''''''''''''''''''''1''''''9'' ''''357'''''''''''''">
              <a:rPr lang="fi-FI" altLang="en-US" sz="90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9 357</a:t>
            </a:fld>
            <a:endParaRPr lang="fi-FI" sz="900">
              <a:solidFill>
                <a:schemeClr val="tx1"/>
              </a:solidFill>
              <a:sym typeface="+mn-lt"/>
            </a:endParaRPr>
          </a:p>
        </p:txBody>
      </p:sp>
      <p:sp>
        <p:nvSpPr>
          <p:cNvPr id="17" name="Rectangle 16"/>
          <p:cNvSpPr/>
          <p:nvPr>
            <p:custDataLst>
              <p:tags r:id="rId43"/>
            </p:custDataLst>
          </p:nvPr>
        </p:nvSpPr>
        <p:spPr bwMode="gray">
          <a:xfrm>
            <a:off x="4716463" y="960438"/>
            <a:ext cx="381000" cy="1238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717" tIns="0" rIns="15717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1E3BA18-07CF-442A-A8DD-C2D8B2453895}" type="datetime'''''''''''''18'''''''''''''''''''' ''''71''''''''6'''''''">
              <a:rPr lang="fi-FI" altLang="en-US" sz="90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8 716</a:t>
            </a:fld>
            <a:endParaRPr lang="fi-FI" sz="900">
              <a:solidFill>
                <a:schemeClr val="tx1"/>
              </a:solidFill>
              <a:sym typeface="+mn-lt"/>
            </a:endParaRPr>
          </a:p>
        </p:txBody>
      </p:sp>
      <p:sp>
        <p:nvSpPr>
          <p:cNvPr id="34" name="Rectangle 33"/>
          <p:cNvSpPr/>
          <p:nvPr>
            <p:custDataLst>
              <p:tags r:id="rId44"/>
            </p:custDataLst>
          </p:nvPr>
        </p:nvSpPr>
        <p:spPr bwMode="auto">
          <a:xfrm>
            <a:off x="5251449" y="4225926"/>
            <a:ext cx="869950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4C7A28A-AE27-4094-9783-269FF0C4C7BE}" type="datetime'D''o''c''''to''ral d''e''g''''''r''''ee''''''''''''s'''''''">
              <a:rPr lang="fi-FI" altLang="en-US" sz="9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Doctoral degrees</a:t>
            </a:fld>
            <a:endParaRPr lang="fi-FI" sz="900">
              <a:solidFill>
                <a:schemeClr val="tx1"/>
              </a:solidFill>
              <a:sym typeface="+mn-lt"/>
            </a:endParaRPr>
          </a:p>
        </p:txBody>
      </p:sp>
      <p:sp>
        <p:nvSpPr>
          <p:cNvPr id="86" name="Oval 85"/>
          <p:cNvSpPr/>
          <p:nvPr>
            <p:custDataLst>
              <p:tags r:id="rId45"/>
            </p:custDataLst>
          </p:nvPr>
        </p:nvSpPr>
        <p:spPr bwMode="auto">
          <a:xfrm>
            <a:off x="5319712" y="2560639"/>
            <a:ext cx="419100" cy="19367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6AA90CC-8A25-4DEB-B0DF-CBE0E24CF115}" type="datetime'+''''''''8''''''''1''''''''''''''%'''''''">
              <a:rPr lang="fi-FI" altLang="en-US" sz="900" b="1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81%</a:t>
            </a:fld>
            <a:endParaRPr lang="fi-FI" sz="900" b="1" dirty="0">
              <a:solidFill>
                <a:schemeClr val="tx1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339127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3375810"/>
              </p:ext>
            </p:extLst>
          </p:nvPr>
        </p:nvGraphicFramePr>
        <p:xfrm>
          <a:off x="458629" y="1429"/>
          <a:ext cx="1429" cy="14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20" imgW="592" imgH="595" progId="TCLayout.ActiveDocument.1">
                  <p:embed/>
                </p:oleObj>
              </mc:Choice>
              <mc:Fallback>
                <p:oleObj name="think-cell Slide" r:id="rId20" imgW="592" imgH="595" progId="TCLayout.ActiveDocument.1">
                  <p:embed/>
                  <p:pic>
                    <p:nvPicPr>
                      <p:cNvPr id="27" name="Object 26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458629" y="1429"/>
                        <a:ext cx="1429" cy="14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457200" y="0"/>
            <a:ext cx="142875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fi-FI" sz="99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10"/>
          </p:nvPr>
        </p:nvSpPr>
        <p:spPr/>
        <p:txBody>
          <a:bodyPr/>
          <a:lstStyle/>
          <a:p>
            <a:r>
              <a:rPr lang="en-US" dirty="0"/>
              <a:t>BSc graduation in time in BIZ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1"/>
          </p:nvPr>
        </p:nvSpPr>
        <p:spPr>
          <a:xfrm>
            <a:off x="5889081" y="1253014"/>
            <a:ext cx="2198166" cy="2953226"/>
          </a:xfrm>
        </p:spPr>
        <p:txBody>
          <a:bodyPr/>
          <a:lstStyle/>
          <a:p>
            <a:r>
              <a:rPr lang="en-US" sz="1260" dirty="0"/>
              <a:t>A lot of BSc graduation is in four years. A lot can be done here to help. From over year late to less than year late increases funding by 2600€/student and from less than year late to in time by 1700€/student</a:t>
            </a:r>
          </a:p>
        </p:txBody>
      </p:sp>
      <p:graphicFrame>
        <p:nvGraphicFramePr>
          <p:cNvPr id="26" name="Chart 25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43277219"/>
              </p:ext>
            </p:extLst>
          </p:nvPr>
        </p:nvGraphicFramePr>
        <p:xfrm>
          <a:off x="1119188" y="1246188"/>
          <a:ext cx="4200525" cy="32242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cxnSp>
        <p:nvCxnSpPr>
          <p:cNvPr id="37" name="Straight Connector 36"/>
          <p:cNvCxnSpPr/>
          <p:nvPr>
            <p:custDataLst>
              <p:tags r:id="rId5"/>
            </p:custDataLst>
          </p:nvPr>
        </p:nvCxnSpPr>
        <p:spPr bwMode="auto">
          <a:xfrm flipH="1">
            <a:off x="5064125" y="1328738"/>
            <a:ext cx="2032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>
            <p:custDataLst>
              <p:tags r:id="rId6"/>
            </p:custDataLst>
          </p:nvPr>
        </p:nvSpPr>
        <p:spPr bwMode="gray">
          <a:xfrm>
            <a:off x="3590925" y="1155700"/>
            <a:ext cx="266700" cy="1476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D787146-27E3-4D73-A3F4-EA472C012225}" type="datetime'''''''3''''''''''''''''''7''''''''''6'">
              <a:rPr lang="fi-FI" altLang="en-US" sz="1080">
                <a:solidFill>
                  <a:schemeClr val="tx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76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  <p:sp>
        <p:nvSpPr>
          <p:cNvPr id="22" name="Rectangle 21"/>
          <p:cNvSpPr/>
          <p:nvPr>
            <p:custDataLst>
              <p:tags r:id="rId7"/>
            </p:custDataLst>
          </p:nvPr>
        </p:nvSpPr>
        <p:spPr bwMode="auto">
          <a:xfrm>
            <a:off x="2555874" y="4433887"/>
            <a:ext cx="317500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CFD93E9-8E36-481D-BC73-4530D1A0FF60}" type="datetime'''2''''''''''''''''''''01''''''''''''''''''''''''''''''''6'''">
              <a:rPr lang="fi-FI" altLang="en-US" sz="108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  <p:sp>
        <p:nvSpPr>
          <p:cNvPr id="24" name="Rectangle 23"/>
          <p:cNvSpPr/>
          <p:nvPr>
            <p:custDataLst>
              <p:tags r:id="rId8"/>
            </p:custDataLst>
          </p:nvPr>
        </p:nvSpPr>
        <p:spPr bwMode="auto">
          <a:xfrm>
            <a:off x="527050" y="1519237"/>
            <a:ext cx="77628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D333018-1F37-497E-8FAE-E075D1B06B7B}" type="datetime'''In ''''''''''t''''i''m''''e +''''''3''''''''-''''-&gt;'''">
              <a:rPr lang="fi-FI" altLang="en-US" sz="1080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In time +3--&gt;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  <p:sp>
        <p:nvSpPr>
          <p:cNvPr id="33" name="Rectangle 32"/>
          <p:cNvSpPr/>
          <p:nvPr>
            <p:custDataLst>
              <p:tags r:id="rId9"/>
            </p:custDataLst>
          </p:nvPr>
        </p:nvSpPr>
        <p:spPr bwMode="gray">
          <a:xfrm>
            <a:off x="1573213" y="1155700"/>
            <a:ext cx="266700" cy="1476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261455E-058F-4FF6-87DE-893758919364}" type="datetime'''''''''''''''''''''''''''''''''''4''''''''0''''''3'''''">
              <a:rPr lang="fi-FI" altLang="en-US" sz="1080">
                <a:solidFill>
                  <a:schemeClr val="tx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03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  <p:sp>
        <p:nvSpPr>
          <p:cNvPr id="21" name="Rectangle 20"/>
          <p:cNvSpPr/>
          <p:nvPr>
            <p:custDataLst>
              <p:tags r:id="rId10"/>
            </p:custDataLst>
          </p:nvPr>
        </p:nvSpPr>
        <p:spPr bwMode="auto">
          <a:xfrm>
            <a:off x="1547812" y="4433887"/>
            <a:ext cx="317500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6EAF218-F9B9-443A-81FD-22043B02DD9B}" type="datetime'''''2''0''''''1''''''''''''''''''''''''5'''''">
              <a:rPr lang="fi-FI" altLang="en-US" sz="108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  <p:sp>
        <p:nvSpPr>
          <p:cNvPr id="23" name="Rectangle 22"/>
          <p:cNvSpPr/>
          <p:nvPr>
            <p:custDataLst>
              <p:tags r:id="rId11"/>
            </p:custDataLst>
          </p:nvPr>
        </p:nvSpPr>
        <p:spPr bwMode="auto">
          <a:xfrm>
            <a:off x="3565524" y="4433887"/>
            <a:ext cx="317500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D80FEFA-DC9D-4C62-96D8-B77D9C2109A9}" type="datetime'''''''''''''''2''''''0''''''''1''7'''''''''''''''''">
              <a:rPr lang="fi-FI" altLang="en-US" sz="108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  <p:sp>
        <p:nvSpPr>
          <p:cNvPr id="40" name="Rectangle 39"/>
          <p:cNvSpPr/>
          <p:nvPr>
            <p:custDataLst>
              <p:tags r:id="rId12"/>
            </p:custDataLst>
          </p:nvPr>
        </p:nvSpPr>
        <p:spPr bwMode="auto">
          <a:xfrm>
            <a:off x="4573587" y="4433887"/>
            <a:ext cx="317500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9996E63-9F06-4787-90D0-0A4CE2377702}" type="datetime'''''''2''''''''''''0''''''''''''''18'''">
              <a:rPr lang="fi-FI" altLang="en-US" sz="108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  <p:sp>
        <p:nvSpPr>
          <p:cNvPr id="31" name="Rectangle 30"/>
          <p:cNvSpPr/>
          <p:nvPr>
            <p:custDataLst>
              <p:tags r:id="rId13"/>
            </p:custDataLst>
          </p:nvPr>
        </p:nvSpPr>
        <p:spPr bwMode="auto">
          <a:xfrm>
            <a:off x="698500" y="2927349"/>
            <a:ext cx="6048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282E327-1ADC-4D99-B203-697818D0CD18}" type="datetime'''I''''n'''''' ''''''''''''''''''''t''ime'''' ''''+''''1'''''">
              <a:rPr lang="fi-FI" altLang="en-US" sz="1080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In time +1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  <p:sp>
        <p:nvSpPr>
          <p:cNvPr id="25" name="Rectangle 24"/>
          <p:cNvSpPr/>
          <p:nvPr>
            <p:custDataLst>
              <p:tags r:id="rId14"/>
            </p:custDataLst>
          </p:nvPr>
        </p:nvSpPr>
        <p:spPr bwMode="auto">
          <a:xfrm>
            <a:off x="698500" y="2092324"/>
            <a:ext cx="6048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CF37258-26D1-4EEA-B835-D14D616E42F7}" type="datetime'''I''''n'''''''''''' ''t''i''m''''''''e'''''''' +''''2'''''">
              <a:rPr lang="fi-FI" altLang="en-US" sz="1080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In time +2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  <p:sp>
        <p:nvSpPr>
          <p:cNvPr id="41" name="Rectangle 40"/>
          <p:cNvSpPr/>
          <p:nvPr>
            <p:custDataLst>
              <p:tags r:id="rId15"/>
            </p:custDataLst>
          </p:nvPr>
        </p:nvSpPr>
        <p:spPr bwMode="auto">
          <a:xfrm>
            <a:off x="892176" y="3883024"/>
            <a:ext cx="411163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A8872D2-AA58-4B6B-BFA4-8632713D0EF5}" type="datetime'''''''''''''I''''''''''''''''''''''n'''''' ''t''''i''''''''me'">
              <a:rPr lang="fi-FI" altLang="en-US" sz="1080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In time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  <p:sp>
        <p:nvSpPr>
          <p:cNvPr id="32" name="Rectangle 31"/>
          <p:cNvSpPr/>
          <p:nvPr>
            <p:custDataLst>
              <p:tags r:id="rId16"/>
            </p:custDataLst>
          </p:nvPr>
        </p:nvSpPr>
        <p:spPr bwMode="auto">
          <a:xfrm>
            <a:off x="5318125" y="1254126"/>
            <a:ext cx="320675" cy="1508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6196B57-20DA-4789-B4E6-F677E448B144}" type="datetime'''''1''''0''''0''''''''%'''''''''''">
              <a:rPr lang="fi-FI" altLang="en-US" sz="990">
                <a:solidFill>
                  <a:schemeClr val="tx1"/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100%</a:t>
            </a:fld>
            <a:endParaRPr lang="fi-FI" sz="990">
              <a:solidFill>
                <a:schemeClr val="tx1"/>
              </a:solidFill>
              <a:sym typeface="+mn-lt"/>
            </a:endParaRPr>
          </a:p>
        </p:txBody>
      </p:sp>
      <p:sp>
        <p:nvSpPr>
          <p:cNvPr id="34" name="Rectangle 33"/>
          <p:cNvSpPr/>
          <p:nvPr>
            <p:custDataLst>
              <p:tags r:id="rId17"/>
            </p:custDataLst>
          </p:nvPr>
        </p:nvSpPr>
        <p:spPr bwMode="gray">
          <a:xfrm>
            <a:off x="2581275" y="1155700"/>
            <a:ext cx="266700" cy="1476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CF636DC-BE6A-4BEE-8F98-C08C80010200}" type="datetime'''''''''''3''''''''''''''''''''''''''''''7''''''6'">
              <a:rPr lang="fi-FI" altLang="en-US" sz="1080">
                <a:solidFill>
                  <a:schemeClr val="tx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76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  <p:sp>
        <p:nvSpPr>
          <p:cNvPr id="38" name="Rectangle 37"/>
          <p:cNvSpPr/>
          <p:nvPr>
            <p:custDataLst>
              <p:tags r:id="rId18"/>
            </p:custDataLst>
          </p:nvPr>
        </p:nvSpPr>
        <p:spPr bwMode="gray">
          <a:xfrm>
            <a:off x="4598988" y="1155700"/>
            <a:ext cx="266700" cy="1476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395928F-C981-4071-AD63-4F5C815077BE}" type="datetime'3''''4''''''''''''''''''''''''''''5'''''''''''">
              <a:rPr lang="fi-FI" altLang="en-US" sz="1080">
                <a:solidFill>
                  <a:schemeClr val="tx1"/>
                </a:solidFill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45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854091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5981198"/>
              </p:ext>
            </p:extLst>
          </p:nvPr>
        </p:nvGraphicFramePr>
        <p:xfrm>
          <a:off x="458629" y="1429"/>
          <a:ext cx="1429" cy="14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Slide" r:id="rId20" imgW="592" imgH="595" progId="TCLayout.ActiveDocument.1">
                  <p:embed/>
                </p:oleObj>
              </mc:Choice>
              <mc:Fallback>
                <p:oleObj name="think-cell Slide" r:id="rId20" imgW="592" imgH="595" progId="TCLayout.ActiveDocument.1">
                  <p:embed/>
                  <p:pic>
                    <p:nvPicPr>
                      <p:cNvPr id="27" name="Object 26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458629" y="1429"/>
                        <a:ext cx="1429" cy="14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457200" y="0"/>
            <a:ext cx="142875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fi-FI" sz="99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10"/>
          </p:nvPr>
        </p:nvSpPr>
        <p:spPr/>
        <p:txBody>
          <a:bodyPr/>
          <a:lstStyle/>
          <a:p>
            <a:r>
              <a:rPr lang="en-US" dirty="0"/>
              <a:t>MSc graduation in time in BIZ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1"/>
          </p:nvPr>
        </p:nvSpPr>
        <p:spPr>
          <a:xfrm>
            <a:off x="5889081" y="1253014"/>
            <a:ext cx="2198166" cy="2953226"/>
          </a:xfrm>
        </p:spPr>
        <p:txBody>
          <a:bodyPr/>
          <a:lstStyle/>
          <a:p>
            <a:r>
              <a:rPr lang="en-US" sz="1260" dirty="0"/>
              <a:t>Very few MSc only students graduate in two years. A lot of MSc graduation is in three years, especially in 2018. Here we have an opportunity. From over year late to less than year late increases funding by 3800€/student and from less than year late to in time by 2500€/student</a:t>
            </a:r>
          </a:p>
        </p:txBody>
      </p:sp>
      <p:graphicFrame>
        <p:nvGraphicFramePr>
          <p:cNvPr id="28" name="Chart 27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54920087"/>
              </p:ext>
            </p:extLst>
          </p:nvPr>
        </p:nvGraphicFramePr>
        <p:xfrm>
          <a:off x="1119188" y="1246188"/>
          <a:ext cx="4200525" cy="32242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cxnSp>
        <p:nvCxnSpPr>
          <p:cNvPr id="37" name="Straight Connector 36"/>
          <p:cNvCxnSpPr/>
          <p:nvPr>
            <p:custDataLst>
              <p:tags r:id="rId5"/>
            </p:custDataLst>
          </p:nvPr>
        </p:nvCxnSpPr>
        <p:spPr bwMode="auto">
          <a:xfrm flipH="1">
            <a:off x="5064125" y="1328738"/>
            <a:ext cx="2032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>
            <p:custDataLst>
              <p:tags r:id="rId6"/>
            </p:custDataLst>
          </p:nvPr>
        </p:nvSpPr>
        <p:spPr bwMode="auto">
          <a:xfrm>
            <a:off x="698500" y="3611562"/>
            <a:ext cx="6048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282E327-1ADC-4D99-B203-697818D0CD18}" type="datetime'''I''''n'''''' ''''''''''''''''''''t''ime'''' ''''+''''1'''''">
              <a:rPr lang="fi-FI" altLang="en-US" sz="1080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In time +1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  <p:sp>
        <p:nvSpPr>
          <p:cNvPr id="22" name="Rectangle 21"/>
          <p:cNvSpPr/>
          <p:nvPr>
            <p:custDataLst>
              <p:tags r:id="rId7"/>
            </p:custDataLst>
          </p:nvPr>
        </p:nvSpPr>
        <p:spPr bwMode="auto">
          <a:xfrm>
            <a:off x="2555874" y="4433887"/>
            <a:ext cx="317500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CFD93E9-8E36-481D-BC73-4530D1A0FF60}" type="datetime'''2''''''''''''''''''''01''''''''''''''''''''''''''''''''6'''">
              <a:rPr lang="fi-FI" altLang="en-US" sz="108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  <p:sp>
        <p:nvSpPr>
          <p:cNvPr id="21" name="Rectangle 20"/>
          <p:cNvSpPr/>
          <p:nvPr>
            <p:custDataLst>
              <p:tags r:id="rId8"/>
            </p:custDataLst>
          </p:nvPr>
        </p:nvSpPr>
        <p:spPr bwMode="auto">
          <a:xfrm>
            <a:off x="1547812" y="4433887"/>
            <a:ext cx="317500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6EAF218-F9B9-443A-81FD-22043B02DD9B}" type="datetime'''''2''0''''''1''''''''''''''''''''''''5'''''">
              <a:rPr lang="fi-FI" altLang="en-US" sz="108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  <p:sp>
        <p:nvSpPr>
          <p:cNvPr id="25" name="Rectangle 24"/>
          <p:cNvSpPr/>
          <p:nvPr>
            <p:custDataLst>
              <p:tags r:id="rId9"/>
            </p:custDataLst>
          </p:nvPr>
        </p:nvSpPr>
        <p:spPr bwMode="auto">
          <a:xfrm>
            <a:off x="698500" y="2571749"/>
            <a:ext cx="6048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CF37258-26D1-4EEA-B835-D14D616E42F7}" type="datetime'''I''''n'''''''''''' ''t''i''m''''''''e'''''''' +''''2'''''">
              <a:rPr lang="fi-FI" altLang="en-US" sz="1080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In time +2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  <p:sp>
        <p:nvSpPr>
          <p:cNvPr id="23" name="Rectangle 22"/>
          <p:cNvSpPr/>
          <p:nvPr>
            <p:custDataLst>
              <p:tags r:id="rId10"/>
            </p:custDataLst>
          </p:nvPr>
        </p:nvSpPr>
        <p:spPr bwMode="auto">
          <a:xfrm>
            <a:off x="3565524" y="4433887"/>
            <a:ext cx="317500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D80FEFA-DC9D-4C62-96D8-B77D9C2109A9}" type="datetime'''''''''''''''2''''''0''''''''1''7'''''''''''''''''">
              <a:rPr lang="fi-FI" altLang="en-US" sz="108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  <p:sp>
        <p:nvSpPr>
          <p:cNvPr id="40" name="Rectangle 39"/>
          <p:cNvSpPr/>
          <p:nvPr>
            <p:custDataLst>
              <p:tags r:id="rId11"/>
            </p:custDataLst>
          </p:nvPr>
        </p:nvSpPr>
        <p:spPr bwMode="auto">
          <a:xfrm>
            <a:off x="4573587" y="4433887"/>
            <a:ext cx="317500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9996E63-9F06-4787-90D0-0A4CE2377702}" type="datetime'''''''2''''''''''''0''''''''''''''18'''">
              <a:rPr lang="fi-FI" altLang="en-US" sz="108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  <p:sp>
        <p:nvSpPr>
          <p:cNvPr id="24" name="Rectangle 23"/>
          <p:cNvSpPr/>
          <p:nvPr>
            <p:custDataLst>
              <p:tags r:id="rId12"/>
            </p:custDataLst>
          </p:nvPr>
        </p:nvSpPr>
        <p:spPr bwMode="auto">
          <a:xfrm>
            <a:off x="527050" y="1619249"/>
            <a:ext cx="77628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D333018-1F37-497E-8FAE-E075D1B06B7B}" type="datetime'''In ''''''''''t''''i''m''''e +''''''3''''''''-''''-&gt;'''">
              <a:rPr lang="fi-FI" altLang="en-US" sz="1080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In time +3--&gt;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  <p:sp>
        <p:nvSpPr>
          <p:cNvPr id="41" name="Rectangle 40"/>
          <p:cNvSpPr/>
          <p:nvPr>
            <p:custDataLst>
              <p:tags r:id="rId13"/>
            </p:custDataLst>
          </p:nvPr>
        </p:nvSpPr>
        <p:spPr bwMode="auto">
          <a:xfrm>
            <a:off x="892176" y="4146549"/>
            <a:ext cx="411163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A8872D2-AA58-4B6B-BFA4-8632713D0EF5}" type="datetime'''''''''''''I''''''''''''''''''''''n'''''' ''t''''i''''''''me'">
              <a:rPr lang="fi-FI" altLang="en-US" sz="1080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In time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  <p:sp>
        <p:nvSpPr>
          <p:cNvPr id="32" name="Rectangle 31"/>
          <p:cNvSpPr/>
          <p:nvPr>
            <p:custDataLst>
              <p:tags r:id="rId14"/>
            </p:custDataLst>
          </p:nvPr>
        </p:nvSpPr>
        <p:spPr bwMode="auto">
          <a:xfrm>
            <a:off x="5318125" y="1254126"/>
            <a:ext cx="320675" cy="1508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6196B57-20DA-4789-B4E6-F677E448B144}" type="datetime'''''1''''0''''0''''''''%'''''''''''">
              <a:rPr lang="fi-FI" altLang="en-US" sz="990">
                <a:solidFill>
                  <a:schemeClr val="tx1"/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100%</a:t>
            </a:fld>
            <a:endParaRPr lang="fi-FI" sz="990">
              <a:solidFill>
                <a:schemeClr val="tx1"/>
              </a:solidFill>
              <a:sym typeface="+mn-lt"/>
            </a:endParaRPr>
          </a:p>
        </p:txBody>
      </p:sp>
      <p:sp>
        <p:nvSpPr>
          <p:cNvPr id="33" name="Rectangle 32"/>
          <p:cNvSpPr/>
          <p:nvPr>
            <p:custDataLst>
              <p:tags r:id="rId15"/>
            </p:custDataLst>
          </p:nvPr>
        </p:nvSpPr>
        <p:spPr bwMode="gray">
          <a:xfrm>
            <a:off x="1573213" y="1155700"/>
            <a:ext cx="266700" cy="1476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A38BC60-E183-450C-AEB8-333713C998C3}" type="datetime'''''''''''''''1''''''''''''''''''''''''''7''''''''''''2'''">
              <a:rPr lang="fi-FI" altLang="en-US" sz="108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72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  <p:sp>
        <p:nvSpPr>
          <p:cNvPr id="34" name="Rectangle 33"/>
          <p:cNvSpPr/>
          <p:nvPr>
            <p:custDataLst>
              <p:tags r:id="rId16"/>
            </p:custDataLst>
          </p:nvPr>
        </p:nvSpPr>
        <p:spPr bwMode="gray">
          <a:xfrm>
            <a:off x="2581275" y="1155700"/>
            <a:ext cx="266700" cy="1476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78B6453-C422-4EA3-8C27-43B677F6AB56}" type="datetime'''''''15''''''''''''''''''''''''''''''5'''''''">
              <a:rPr lang="fi-FI" altLang="en-US" sz="108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55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  <p:sp>
        <p:nvSpPr>
          <p:cNvPr id="36" name="Rectangle 35"/>
          <p:cNvSpPr/>
          <p:nvPr>
            <p:custDataLst>
              <p:tags r:id="rId17"/>
            </p:custDataLst>
          </p:nvPr>
        </p:nvSpPr>
        <p:spPr bwMode="gray">
          <a:xfrm>
            <a:off x="3590925" y="1155700"/>
            <a:ext cx="266700" cy="1476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87577AB-02E4-4AF5-A564-B87E9D64D6B5}" type="datetime'''''''''1''''''''''''''''3''''''''''4'''''''''''''''''''''">
              <a:rPr lang="fi-FI" altLang="en-US" sz="108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34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  <p:sp>
        <p:nvSpPr>
          <p:cNvPr id="38" name="Rectangle 37"/>
          <p:cNvSpPr/>
          <p:nvPr>
            <p:custDataLst>
              <p:tags r:id="rId18"/>
            </p:custDataLst>
          </p:nvPr>
        </p:nvSpPr>
        <p:spPr bwMode="gray">
          <a:xfrm>
            <a:off x="4598988" y="1155700"/>
            <a:ext cx="266700" cy="1476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73A691D-BBA7-4B4E-ADD8-ADA5CF5CEB39}" type="datetime'''''''''''''''''''1''''''5''''''''''''''''''9'''''''''''''''">
              <a:rPr lang="fi-FI" altLang="en-US" sz="108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59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543965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7874100"/>
              </p:ext>
            </p:extLst>
          </p:nvPr>
        </p:nvGraphicFramePr>
        <p:xfrm>
          <a:off x="458629" y="1429"/>
          <a:ext cx="1429" cy="14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20" imgW="592" imgH="595" progId="TCLayout.ActiveDocument.1">
                  <p:embed/>
                </p:oleObj>
              </mc:Choice>
              <mc:Fallback>
                <p:oleObj name="think-cell Slide" r:id="rId20" imgW="592" imgH="595" progId="TCLayout.ActiveDocument.1">
                  <p:embed/>
                  <p:pic>
                    <p:nvPicPr>
                      <p:cNvPr id="27" name="Object 26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458629" y="1429"/>
                        <a:ext cx="1429" cy="14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457200" y="0"/>
            <a:ext cx="142875" cy="142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fi-FI" sz="99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10"/>
          </p:nvPr>
        </p:nvSpPr>
        <p:spPr/>
        <p:txBody>
          <a:bodyPr/>
          <a:lstStyle/>
          <a:p>
            <a:r>
              <a:rPr lang="en-US" dirty="0" err="1"/>
              <a:t>BSc+MSc</a:t>
            </a:r>
            <a:r>
              <a:rPr lang="en-US" dirty="0"/>
              <a:t> graduation </a:t>
            </a:r>
            <a:r>
              <a:rPr lang="en-US"/>
              <a:t>in time in BIZ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1"/>
          </p:nvPr>
        </p:nvSpPr>
        <p:spPr>
          <a:xfrm>
            <a:off x="5889081" y="1253014"/>
            <a:ext cx="2198166" cy="2953226"/>
          </a:xfrm>
        </p:spPr>
        <p:txBody>
          <a:bodyPr/>
          <a:lstStyle/>
          <a:p>
            <a:r>
              <a:rPr lang="en-US" sz="1260" dirty="0"/>
              <a:t>Very few </a:t>
            </a:r>
            <a:r>
              <a:rPr lang="en-US" sz="1260" dirty="0" err="1"/>
              <a:t>BSc+MSc</a:t>
            </a:r>
            <a:r>
              <a:rPr lang="en-US" sz="1260" dirty="0"/>
              <a:t> students graduate in five years. </a:t>
            </a:r>
          </a:p>
          <a:p>
            <a:r>
              <a:rPr lang="en-US" sz="1260" dirty="0"/>
              <a:t>From over year late to less than year late increases funding by 3800€/student and from less than year late to in time by 2500€/student</a:t>
            </a:r>
          </a:p>
        </p:txBody>
      </p:sp>
      <p:graphicFrame>
        <p:nvGraphicFramePr>
          <p:cNvPr id="26" name="Chart 25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4526001"/>
              </p:ext>
            </p:extLst>
          </p:nvPr>
        </p:nvGraphicFramePr>
        <p:xfrm>
          <a:off x="1119188" y="1246188"/>
          <a:ext cx="4200525" cy="32242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cxnSp>
        <p:nvCxnSpPr>
          <p:cNvPr id="37" name="Straight Connector 36"/>
          <p:cNvCxnSpPr/>
          <p:nvPr>
            <p:custDataLst>
              <p:tags r:id="rId5"/>
            </p:custDataLst>
          </p:nvPr>
        </p:nvCxnSpPr>
        <p:spPr bwMode="auto">
          <a:xfrm flipH="1">
            <a:off x="5064125" y="1328738"/>
            <a:ext cx="2032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>
            <p:custDataLst>
              <p:tags r:id="rId6"/>
            </p:custDataLst>
          </p:nvPr>
        </p:nvSpPr>
        <p:spPr bwMode="auto">
          <a:xfrm>
            <a:off x="2555874" y="4433887"/>
            <a:ext cx="317500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CFD93E9-8E36-481D-BC73-4530D1A0FF60}" type="datetime'''2''''''''''''''''''''01''''''''''''''''''''''''''''''''6'''">
              <a:rPr lang="fi-FI" altLang="en-US" sz="108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  <p:sp>
        <p:nvSpPr>
          <p:cNvPr id="21" name="Rectangle 20"/>
          <p:cNvSpPr/>
          <p:nvPr>
            <p:custDataLst>
              <p:tags r:id="rId7"/>
            </p:custDataLst>
          </p:nvPr>
        </p:nvSpPr>
        <p:spPr bwMode="auto">
          <a:xfrm>
            <a:off x="1547812" y="4433887"/>
            <a:ext cx="317500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6EAF218-F9B9-443A-81FD-22043B02DD9B}" type="datetime'''''2''0''''''1''''''''''''''''''''''''5'''''">
              <a:rPr lang="fi-FI" altLang="en-US" sz="108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  <p:sp>
        <p:nvSpPr>
          <p:cNvPr id="40" name="Rectangle 39"/>
          <p:cNvSpPr/>
          <p:nvPr>
            <p:custDataLst>
              <p:tags r:id="rId8"/>
            </p:custDataLst>
          </p:nvPr>
        </p:nvSpPr>
        <p:spPr bwMode="auto">
          <a:xfrm>
            <a:off x="4573587" y="4433887"/>
            <a:ext cx="317500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9996E63-9F06-4787-90D0-0A4CE2377702}" type="datetime'''''''2''''''''''''0''''''''''''''18'''">
              <a:rPr lang="fi-FI" altLang="en-US" sz="108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  <p:sp>
        <p:nvSpPr>
          <p:cNvPr id="23" name="Rectangle 22"/>
          <p:cNvSpPr/>
          <p:nvPr>
            <p:custDataLst>
              <p:tags r:id="rId9"/>
            </p:custDataLst>
          </p:nvPr>
        </p:nvSpPr>
        <p:spPr bwMode="auto">
          <a:xfrm>
            <a:off x="3565524" y="4433887"/>
            <a:ext cx="317500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D80FEFA-DC9D-4C62-96D8-B77D9C2109A9}" type="datetime'''''''''''''''2''''''0''''''''1''7'''''''''''''''''">
              <a:rPr lang="fi-FI" altLang="en-US" sz="108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  <p:sp>
        <p:nvSpPr>
          <p:cNvPr id="41" name="Rectangle 40"/>
          <p:cNvSpPr/>
          <p:nvPr>
            <p:custDataLst>
              <p:tags r:id="rId10"/>
            </p:custDataLst>
          </p:nvPr>
        </p:nvSpPr>
        <p:spPr bwMode="auto">
          <a:xfrm>
            <a:off x="892176" y="4146549"/>
            <a:ext cx="411163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A8872D2-AA58-4B6B-BFA4-8632713D0EF5}" type="datetime'''''''''''''I''''''''''''''''''''''n'''''' ''t''''i''''''''me'">
              <a:rPr lang="fi-FI" altLang="en-US" sz="1080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In time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  <p:sp>
        <p:nvSpPr>
          <p:cNvPr id="31" name="Rectangle 30"/>
          <p:cNvSpPr/>
          <p:nvPr>
            <p:custDataLst>
              <p:tags r:id="rId11"/>
            </p:custDataLst>
          </p:nvPr>
        </p:nvSpPr>
        <p:spPr bwMode="auto">
          <a:xfrm>
            <a:off x="698500" y="3619499"/>
            <a:ext cx="6048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282E327-1ADC-4D99-B203-697818D0CD18}" type="datetime'''I''''n'''''' ''''''''''''''''''''t''ime'''' ''''+''''1'''''">
              <a:rPr lang="fi-FI" altLang="en-US" sz="1080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In time +1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  <p:sp>
        <p:nvSpPr>
          <p:cNvPr id="24" name="Rectangle 23"/>
          <p:cNvSpPr/>
          <p:nvPr>
            <p:custDataLst>
              <p:tags r:id="rId12"/>
            </p:custDataLst>
          </p:nvPr>
        </p:nvSpPr>
        <p:spPr bwMode="auto">
          <a:xfrm>
            <a:off x="527050" y="1762124"/>
            <a:ext cx="77628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D333018-1F37-497E-8FAE-E075D1B06B7B}" type="datetime'''In ''''''''''t''''i''m''''e +''''''3''''''''-''''-&gt;'''">
              <a:rPr lang="fi-FI" altLang="en-US" sz="1080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In time +3--&gt;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  <p:sp>
        <p:nvSpPr>
          <p:cNvPr id="25" name="Rectangle 24"/>
          <p:cNvSpPr/>
          <p:nvPr>
            <p:custDataLst>
              <p:tags r:id="rId13"/>
            </p:custDataLst>
          </p:nvPr>
        </p:nvSpPr>
        <p:spPr bwMode="auto">
          <a:xfrm>
            <a:off x="698500" y="2759074"/>
            <a:ext cx="604838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CF37258-26D1-4EEA-B835-D14D616E42F7}" type="datetime'''I''''n'''''''''''' ''t''i''m''''''''e'''''''' +''''2'''''">
              <a:rPr lang="fi-FI" altLang="en-US" sz="1080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In time +2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  <p:sp>
        <p:nvSpPr>
          <p:cNvPr id="32" name="Rectangle 31"/>
          <p:cNvSpPr/>
          <p:nvPr>
            <p:custDataLst>
              <p:tags r:id="rId14"/>
            </p:custDataLst>
          </p:nvPr>
        </p:nvSpPr>
        <p:spPr bwMode="auto">
          <a:xfrm>
            <a:off x="5318125" y="1254126"/>
            <a:ext cx="320675" cy="1508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6196B57-20DA-4789-B4E6-F677E448B144}" type="datetime'''''1''''0''''0''''''''%'''''''''''">
              <a:rPr lang="fi-FI" altLang="en-US" sz="990">
                <a:solidFill>
                  <a:schemeClr val="tx1"/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100%</a:t>
            </a:fld>
            <a:endParaRPr lang="fi-FI" sz="990">
              <a:solidFill>
                <a:schemeClr val="tx1"/>
              </a:solidFill>
              <a:sym typeface="+mn-lt"/>
            </a:endParaRPr>
          </a:p>
        </p:txBody>
      </p:sp>
      <p:sp>
        <p:nvSpPr>
          <p:cNvPr id="33" name="Rectangle 32"/>
          <p:cNvSpPr/>
          <p:nvPr>
            <p:custDataLst>
              <p:tags r:id="rId15"/>
            </p:custDataLst>
          </p:nvPr>
        </p:nvSpPr>
        <p:spPr bwMode="gray">
          <a:xfrm>
            <a:off x="1573213" y="1155700"/>
            <a:ext cx="266700" cy="1476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F81EF5C-5ED5-447F-AA23-55EA0E9B1614}" type="datetime'''''''''''''''2''''''''''''9''''''''''0'''''''">
              <a:rPr lang="fi-FI" altLang="en-US" sz="108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90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  <p:sp>
        <p:nvSpPr>
          <p:cNvPr id="34" name="Rectangle 33"/>
          <p:cNvSpPr/>
          <p:nvPr>
            <p:custDataLst>
              <p:tags r:id="rId16"/>
            </p:custDataLst>
          </p:nvPr>
        </p:nvSpPr>
        <p:spPr bwMode="gray">
          <a:xfrm>
            <a:off x="2581275" y="1155700"/>
            <a:ext cx="266700" cy="1476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118F34F-1267-45D0-A518-DAFDA27A61DB}" type="datetime'''''''''''''''''288'''''''''''''''''''''''''''''''">
              <a:rPr lang="fi-FI" altLang="en-US" sz="108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88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  <p:sp>
        <p:nvSpPr>
          <p:cNvPr id="36" name="Rectangle 35"/>
          <p:cNvSpPr/>
          <p:nvPr>
            <p:custDataLst>
              <p:tags r:id="rId17"/>
            </p:custDataLst>
          </p:nvPr>
        </p:nvSpPr>
        <p:spPr bwMode="gray">
          <a:xfrm>
            <a:off x="3590925" y="1155700"/>
            <a:ext cx="266700" cy="1476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6EEE6DF-4486-43E1-8BCD-8F0942F15343}" type="datetime'''''''''''''''2''''''''''''''''''''5''''''''''''''''0'''''''''">
              <a:rPr lang="fi-FI" altLang="en-US" sz="108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50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  <p:sp>
        <p:nvSpPr>
          <p:cNvPr id="38" name="Rectangle 37"/>
          <p:cNvSpPr/>
          <p:nvPr>
            <p:custDataLst>
              <p:tags r:id="rId18"/>
            </p:custDataLst>
          </p:nvPr>
        </p:nvSpPr>
        <p:spPr bwMode="gray">
          <a:xfrm>
            <a:off x="4598988" y="1155700"/>
            <a:ext cx="266700" cy="1476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D37BB47-D0AD-4B23-8C3E-E9C716426C17}" type="datetime'''''''''''''''''2''''''''''''''''''5''''''''''''8'''''''''''">
              <a:rPr lang="fi-FI" altLang="en-US" sz="108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58</a:t>
            </a:fld>
            <a:endParaRPr lang="fi-FI" sz="1080">
              <a:solidFill>
                <a:schemeClr val="tx1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249472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3 year average </a:t>
            </a:r>
            <a:r>
              <a:rPr lang="en-US" dirty="0">
                <a:sym typeface="Wingdings" panose="05000000000000000000" pitchFamily="2" charset="2"/>
              </a:rPr>
              <a:t> delay in impact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defTabSz="411480" fontAlgn="base">
              <a:spcBef>
                <a:spcPct val="0"/>
              </a:spcBef>
              <a:spcAft>
                <a:spcPct val="0"/>
              </a:spcAft>
              <a:defRPr/>
            </a:pPr>
            <a:fld id="{24CBB682-87B2-4236-AF78-B49807E7713E}" type="datetime1">
              <a:rPr lang="fi-FI">
                <a:solidFill>
                  <a:prstClr val="black">
                    <a:tint val="75000"/>
                  </a:prstClr>
                </a:solidFill>
                <a:latin typeface="Arial" charset="0"/>
                <a:ea typeface="ＭＳ Ｐゴシック" charset="0"/>
              </a:rPr>
              <a:pPr defTabSz="411480" fontAlgn="base">
                <a:spcBef>
                  <a:spcPct val="0"/>
                </a:spcBef>
                <a:spcAft>
                  <a:spcPct val="0"/>
                </a:spcAft>
                <a:defRPr/>
              </a:pPr>
              <a:t>25.5.2019</a:t>
            </a:fld>
            <a:endParaRPr lang="fi-FI">
              <a:solidFill>
                <a:prstClr val="black">
                  <a:tint val="75000"/>
                </a:prstClr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411480" fontAlgn="base">
              <a:spcBef>
                <a:spcPct val="0"/>
              </a:spcBef>
              <a:spcAft>
                <a:spcPct val="0"/>
              </a:spcAft>
              <a:defRPr/>
            </a:pPr>
            <a:fld id="{49EFD4B7-1CC6-864B-A72A-C978B70BBA9B}" type="slidenum">
              <a:rPr lang="fi-FI">
                <a:solidFill>
                  <a:prstClr val="black">
                    <a:tint val="75000"/>
                  </a:prstClr>
                </a:solidFill>
                <a:latin typeface="Arial" charset="0"/>
                <a:ea typeface="ＭＳ Ｐゴシック" charset="0"/>
              </a:rPr>
              <a:pPr defTabSz="41148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fi-FI">
              <a:solidFill>
                <a:prstClr val="black">
                  <a:tint val="75000"/>
                </a:prstClr>
              </a:solidFill>
              <a:latin typeface="Arial" charset="0"/>
              <a:ea typeface="ＭＳ Ｐゴシック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9888834"/>
              </p:ext>
            </p:extLst>
          </p:nvPr>
        </p:nvGraphicFramePr>
        <p:xfrm>
          <a:off x="748375" y="1097392"/>
          <a:ext cx="7712054" cy="13350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1722">
                  <a:extLst>
                    <a:ext uri="{9D8B030D-6E8A-4147-A177-3AD203B41FA5}">
                      <a16:colId xmlns:a16="http://schemas.microsoft.com/office/drawing/2014/main" val="3678853634"/>
                    </a:ext>
                  </a:extLst>
                </a:gridCol>
                <a:gridCol w="1101722">
                  <a:extLst>
                    <a:ext uri="{9D8B030D-6E8A-4147-A177-3AD203B41FA5}">
                      <a16:colId xmlns:a16="http://schemas.microsoft.com/office/drawing/2014/main" val="2532517401"/>
                    </a:ext>
                  </a:extLst>
                </a:gridCol>
                <a:gridCol w="1101722">
                  <a:extLst>
                    <a:ext uri="{9D8B030D-6E8A-4147-A177-3AD203B41FA5}">
                      <a16:colId xmlns:a16="http://schemas.microsoft.com/office/drawing/2014/main" val="2983592845"/>
                    </a:ext>
                  </a:extLst>
                </a:gridCol>
                <a:gridCol w="1101722">
                  <a:extLst>
                    <a:ext uri="{9D8B030D-6E8A-4147-A177-3AD203B41FA5}">
                      <a16:colId xmlns:a16="http://schemas.microsoft.com/office/drawing/2014/main" val="1579008242"/>
                    </a:ext>
                  </a:extLst>
                </a:gridCol>
                <a:gridCol w="1101722">
                  <a:extLst>
                    <a:ext uri="{9D8B030D-6E8A-4147-A177-3AD203B41FA5}">
                      <a16:colId xmlns:a16="http://schemas.microsoft.com/office/drawing/2014/main" val="4214668853"/>
                    </a:ext>
                  </a:extLst>
                </a:gridCol>
                <a:gridCol w="1101722">
                  <a:extLst>
                    <a:ext uri="{9D8B030D-6E8A-4147-A177-3AD203B41FA5}">
                      <a16:colId xmlns:a16="http://schemas.microsoft.com/office/drawing/2014/main" val="1358474081"/>
                    </a:ext>
                  </a:extLst>
                </a:gridCol>
                <a:gridCol w="1101722">
                  <a:extLst>
                    <a:ext uri="{9D8B030D-6E8A-4147-A177-3AD203B41FA5}">
                      <a16:colId xmlns:a16="http://schemas.microsoft.com/office/drawing/2014/main" val="2805586085"/>
                    </a:ext>
                  </a:extLst>
                </a:gridCol>
              </a:tblGrid>
              <a:tr h="333756">
                <a:tc>
                  <a:txBody>
                    <a:bodyPr/>
                    <a:lstStyle/>
                    <a:p>
                      <a:r>
                        <a:rPr lang="en-US" sz="1500" dirty="0"/>
                        <a:t>2015</a:t>
                      </a:r>
                      <a:endParaRPr lang="fi-FI" sz="1500" dirty="0"/>
                    </a:p>
                  </a:txBody>
                  <a:tcPr marL="82296" marR="82296" marT="41148" marB="41148"/>
                </a:tc>
                <a:tc>
                  <a:txBody>
                    <a:bodyPr/>
                    <a:lstStyle/>
                    <a:p>
                      <a:r>
                        <a:rPr lang="en-US" sz="1500" dirty="0"/>
                        <a:t>2016</a:t>
                      </a:r>
                      <a:endParaRPr lang="fi-FI" sz="1500" dirty="0"/>
                    </a:p>
                  </a:txBody>
                  <a:tcPr marL="82296" marR="82296" marT="41148" marB="41148"/>
                </a:tc>
                <a:tc>
                  <a:txBody>
                    <a:bodyPr/>
                    <a:lstStyle/>
                    <a:p>
                      <a:r>
                        <a:rPr lang="en-US" sz="1500" dirty="0"/>
                        <a:t>2017</a:t>
                      </a:r>
                      <a:endParaRPr lang="fi-FI" sz="1500" dirty="0"/>
                    </a:p>
                  </a:txBody>
                  <a:tcPr marL="82296" marR="82296" marT="41148" marB="41148"/>
                </a:tc>
                <a:tc>
                  <a:txBody>
                    <a:bodyPr/>
                    <a:lstStyle/>
                    <a:p>
                      <a:r>
                        <a:rPr lang="en-US" sz="1500" dirty="0"/>
                        <a:t>2018</a:t>
                      </a:r>
                      <a:endParaRPr lang="fi-FI" sz="1500" dirty="0"/>
                    </a:p>
                  </a:txBody>
                  <a:tcPr marL="82296" marR="82296" marT="41148" marB="41148"/>
                </a:tc>
                <a:tc>
                  <a:txBody>
                    <a:bodyPr/>
                    <a:lstStyle/>
                    <a:p>
                      <a:r>
                        <a:rPr lang="en-US" sz="1500" dirty="0"/>
                        <a:t>2019</a:t>
                      </a:r>
                      <a:endParaRPr lang="fi-FI" sz="1500" dirty="0"/>
                    </a:p>
                  </a:txBody>
                  <a:tcPr marL="82296" marR="82296" marT="41148" marB="41148"/>
                </a:tc>
                <a:tc>
                  <a:txBody>
                    <a:bodyPr/>
                    <a:lstStyle/>
                    <a:p>
                      <a:r>
                        <a:rPr lang="en-US" sz="1500" dirty="0"/>
                        <a:t>2020</a:t>
                      </a:r>
                      <a:endParaRPr lang="fi-FI" sz="1500" dirty="0"/>
                    </a:p>
                  </a:txBody>
                  <a:tcPr marL="82296" marR="82296" marT="41148" marB="41148"/>
                </a:tc>
                <a:tc>
                  <a:txBody>
                    <a:bodyPr/>
                    <a:lstStyle/>
                    <a:p>
                      <a:r>
                        <a:rPr lang="en-US" sz="1500" dirty="0"/>
                        <a:t>2021</a:t>
                      </a:r>
                      <a:endParaRPr lang="fi-FI" sz="1500" dirty="0"/>
                    </a:p>
                  </a:txBody>
                  <a:tcPr marL="82296" marR="82296" marT="41148" marB="41148"/>
                </a:tc>
                <a:extLst>
                  <a:ext uri="{0D108BD9-81ED-4DB2-BD59-A6C34878D82A}">
                    <a16:rowId xmlns:a16="http://schemas.microsoft.com/office/drawing/2014/main" val="2664666181"/>
                  </a:ext>
                </a:extLst>
              </a:tr>
              <a:tr h="333756">
                <a:tc>
                  <a:txBody>
                    <a:bodyPr/>
                    <a:lstStyle/>
                    <a:p>
                      <a:endParaRPr lang="fi-FI" sz="1500" dirty="0"/>
                    </a:p>
                  </a:txBody>
                  <a:tcPr marL="82296" marR="82296" marT="41148" marB="41148"/>
                </a:tc>
                <a:tc>
                  <a:txBody>
                    <a:bodyPr/>
                    <a:lstStyle/>
                    <a:p>
                      <a:endParaRPr lang="fi-FI" sz="1500" dirty="0"/>
                    </a:p>
                  </a:txBody>
                  <a:tcPr marL="82296" marR="82296" marT="41148" marB="41148"/>
                </a:tc>
                <a:tc>
                  <a:txBody>
                    <a:bodyPr/>
                    <a:lstStyle/>
                    <a:p>
                      <a:endParaRPr lang="fi-FI" sz="1500" dirty="0"/>
                    </a:p>
                  </a:txBody>
                  <a:tcPr marL="82296" marR="82296" marT="41148" marB="41148"/>
                </a:tc>
                <a:tc>
                  <a:txBody>
                    <a:bodyPr/>
                    <a:lstStyle/>
                    <a:p>
                      <a:endParaRPr lang="fi-FI" sz="1500" dirty="0"/>
                    </a:p>
                  </a:txBody>
                  <a:tcPr marL="82296" marR="82296" marT="41148" marB="41148"/>
                </a:tc>
                <a:tc>
                  <a:txBody>
                    <a:bodyPr/>
                    <a:lstStyle/>
                    <a:p>
                      <a:endParaRPr lang="fi-FI" sz="1500"/>
                    </a:p>
                  </a:txBody>
                  <a:tcPr marL="82296" marR="82296" marT="41148" marB="41148"/>
                </a:tc>
                <a:tc>
                  <a:txBody>
                    <a:bodyPr/>
                    <a:lstStyle/>
                    <a:p>
                      <a:endParaRPr lang="fi-FI" sz="1500"/>
                    </a:p>
                  </a:txBody>
                  <a:tcPr marL="82296" marR="82296" marT="41148" marB="41148"/>
                </a:tc>
                <a:tc>
                  <a:txBody>
                    <a:bodyPr/>
                    <a:lstStyle/>
                    <a:p>
                      <a:endParaRPr lang="fi-FI" sz="1500"/>
                    </a:p>
                  </a:txBody>
                  <a:tcPr marL="82296" marR="82296" marT="41148" marB="41148"/>
                </a:tc>
                <a:extLst>
                  <a:ext uri="{0D108BD9-81ED-4DB2-BD59-A6C34878D82A}">
                    <a16:rowId xmlns:a16="http://schemas.microsoft.com/office/drawing/2014/main" val="2684153675"/>
                  </a:ext>
                </a:extLst>
              </a:tr>
              <a:tr h="333756">
                <a:tc>
                  <a:txBody>
                    <a:bodyPr/>
                    <a:lstStyle/>
                    <a:p>
                      <a:endParaRPr lang="fi-FI" sz="1500"/>
                    </a:p>
                  </a:txBody>
                  <a:tcPr marL="82296" marR="82296" marT="41148" marB="41148"/>
                </a:tc>
                <a:tc>
                  <a:txBody>
                    <a:bodyPr/>
                    <a:lstStyle/>
                    <a:p>
                      <a:endParaRPr lang="fi-FI" sz="1500"/>
                    </a:p>
                  </a:txBody>
                  <a:tcPr marL="82296" marR="82296" marT="41148" marB="41148"/>
                </a:tc>
                <a:tc>
                  <a:txBody>
                    <a:bodyPr/>
                    <a:lstStyle/>
                    <a:p>
                      <a:endParaRPr lang="fi-FI" sz="1500"/>
                    </a:p>
                  </a:txBody>
                  <a:tcPr marL="82296" marR="82296" marT="41148" marB="41148"/>
                </a:tc>
                <a:tc>
                  <a:txBody>
                    <a:bodyPr/>
                    <a:lstStyle/>
                    <a:p>
                      <a:endParaRPr lang="fi-FI" sz="1500"/>
                    </a:p>
                  </a:txBody>
                  <a:tcPr marL="82296" marR="82296" marT="41148" marB="41148"/>
                </a:tc>
                <a:tc>
                  <a:txBody>
                    <a:bodyPr/>
                    <a:lstStyle/>
                    <a:p>
                      <a:endParaRPr lang="fi-FI" sz="1500"/>
                    </a:p>
                  </a:txBody>
                  <a:tcPr marL="82296" marR="82296" marT="41148" marB="41148"/>
                </a:tc>
                <a:tc>
                  <a:txBody>
                    <a:bodyPr/>
                    <a:lstStyle/>
                    <a:p>
                      <a:endParaRPr lang="fi-FI" sz="1500" dirty="0"/>
                    </a:p>
                  </a:txBody>
                  <a:tcPr marL="82296" marR="82296" marT="41148" marB="41148"/>
                </a:tc>
                <a:tc>
                  <a:txBody>
                    <a:bodyPr/>
                    <a:lstStyle/>
                    <a:p>
                      <a:endParaRPr lang="fi-FI" sz="1500" dirty="0"/>
                    </a:p>
                  </a:txBody>
                  <a:tcPr marL="82296" marR="82296" marT="41148" marB="41148"/>
                </a:tc>
                <a:extLst>
                  <a:ext uri="{0D108BD9-81ED-4DB2-BD59-A6C34878D82A}">
                    <a16:rowId xmlns:a16="http://schemas.microsoft.com/office/drawing/2014/main" val="3827979698"/>
                  </a:ext>
                </a:extLst>
              </a:tr>
              <a:tr h="333756">
                <a:tc>
                  <a:txBody>
                    <a:bodyPr/>
                    <a:lstStyle/>
                    <a:p>
                      <a:endParaRPr lang="fi-FI" sz="1500"/>
                    </a:p>
                  </a:txBody>
                  <a:tcPr marL="82296" marR="82296" marT="41148" marB="41148"/>
                </a:tc>
                <a:tc>
                  <a:txBody>
                    <a:bodyPr/>
                    <a:lstStyle/>
                    <a:p>
                      <a:endParaRPr lang="fi-FI" sz="1500"/>
                    </a:p>
                  </a:txBody>
                  <a:tcPr marL="82296" marR="82296" marT="41148" marB="41148"/>
                </a:tc>
                <a:tc>
                  <a:txBody>
                    <a:bodyPr/>
                    <a:lstStyle/>
                    <a:p>
                      <a:endParaRPr lang="fi-FI" sz="1500"/>
                    </a:p>
                  </a:txBody>
                  <a:tcPr marL="82296" marR="82296" marT="41148" marB="41148"/>
                </a:tc>
                <a:tc>
                  <a:txBody>
                    <a:bodyPr/>
                    <a:lstStyle/>
                    <a:p>
                      <a:endParaRPr lang="fi-FI" sz="1500"/>
                    </a:p>
                  </a:txBody>
                  <a:tcPr marL="82296" marR="82296" marT="41148" marB="41148"/>
                </a:tc>
                <a:tc>
                  <a:txBody>
                    <a:bodyPr/>
                    <a:lstStyle/>
                    <a:p>
                      <a:endParaRPr lang="fi-FI" sz="1500"/>
                    </a:p>
                  </a:txBody>
                  <a:tcPr marL="82296" marR="82296" marT="41148" marB="41148"/>
                </a:tc>
                <a:tc>
                  <a:txBody>
                    <a:bodyPr/>
                    <a:lstStyle/>
                    <a:p>
                      <a:endParaRPr lang="fi-FI" sz="1500" dirty="0"/>
                    </a:p>
                  </a:txBody>
                  <a:tcPr marL="82296" marR="82296" marT="41148" marB="41148"/>
                </a:tc>
                <a:tc>
                  <a:txBody>
                    <a:bodyPr/>
                    <a:lstStyle/>
                    <a:p>
                      <a:endParaRPr lang="fi-FI" sz="1500" dirty="0"/>
                    </a:p>
                  </a:txBody>
                  <a:tcPr marL="82296" marR="82296" marT="41148" marB="41148"/>
                </a:tc>
                <a:extLst>
                  <a:ext uri="{0D108BD9-81ED-4DB2-BD59-A6C34878D82A}">
                    <a16:rowId xmlns:a16="http://schemas.microsoft.com/office/drawing/2014/main" val="1190672800"/>
                  </a:ext>
                </a:extLst>
              </a:tr>
            </a:tbl>
          </a:graphicData>
        </a:graphic>
      </p:graphicFrame>
      <p:sp>
        <p:nvSpPr>
          <p:cNvPr id="9" name="Flowchart: Terminator 8"/>
          <p:cNvSpPr/>
          <p:nvPr/>
        </p:nvSpPr>
        <p:spPr>
          <a:xfrm>
            <a:off x="877990" y="1470028"/>
            <a:ext cx="3046631" cy="259229"/>
          </a:xfrm>
          <a:prstGeom prst="flowChartTerminator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11480" fontAlgn="base">
              <a:spcBef>
                <a:spcPct val="0"/>
              </a:spcBef>
              <a:spcAft>
                <a:spcPct val="0"/>
              </a:spcAft>
            </a:pPr>
            <a:r>
              <a:rPr lang="en-US" sz="1620" dirty="0">
                <a:solidFill>
                  <a:prstClr val="black"/>
                </a:solidFill>
                <a:latin typeface="Arial"/>
              </a:rPr>
              <a:t>Average</a:t>
            </a:r>
            <a:endParaRPr lang="fi-FI" sz="162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0" name="Flowchart: Terminator 9"/>
          <p:cNvSpPr/>
          <p:nvPr/>
        </p:nvSpPr>
        <p:spPr>
          <a:xfrm>
            <a:off x="1850098" y="1810650"/>
            <a:ext cx="3243238" cy="259229"/>
          </a:xfrm>
          <a:prstGeom prst="flowChartTerminator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11480" fontAlgn="base">
              <a:spcBef>
                <a:spcPct val="0"/>
              </a:spcBef>
              <a:spcAft>
                <a:spcPct val="0"/>
              </a:spcAft>
            </a:pPr>
            <a:r>
              <a:rPr lang="en-US" sz="1620" dirty="0">
                <a:solidFill>
                  <a:prstClr val="black"/>
                </a:solidFill>
                <a:latin typeface="Arial"/>
              </a:rPr>
              <a:t>Average</a:t>
            </a:r>
            <a:endParaRPr lang="fi-FI" sz="162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1" name="Flowchart: Terminator 10"/>
          <p:cNvSpPr/>
          <p:nvPr/>
        </p:nvSpPr>
        <p:spPr>
          <a:xfrm>
            <a:off x="2951820" y="2151272"/>
            <a:ext cx="3240360" cy="259229"/>
          </a:xfrm>
          <a:prstGeom prst="flowChartTerminator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11480" fontAlgn="base">
              <a:spcBef>
                <a:spcPct val="0"/>
              </a:spcBef>
              <a:spcAft>
                <a:spcPct val="0"/>
              </a:spcAft>
            </a:pPr>
            <a:r>
              <a:rPr lang="en-US" sz="1620" dirty="0">
                <a:solidFill>
                  <a:prstClr val="black"/>
                </a:solidFill>
                <a:latin typeface="Arial"/>
              </a:rPr>
              <a:t>Average</a:t>
            </a:r>
            <a:endParaRPr lang="fi-FI" sz="162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Flowchart: Preparation 11"/>
          <p:cNvSpPr/>
          <p:nvPr/>
        </p:nvSpPr>
        <p:spPr>
          <a:xfrm>
            <a:off x="5170742" y="1456863"/>
            <a:ext cx="972108" cy="259229"/>
          </a:xfrm>
          <a:prstGeom prst="flowChartPreparation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11480" fontAlgn="base">
              <a:spcBef>
                <a:spcPct val="0"/>
              </a:spcBef>
              <a:spcAft>
                <a:spcPct val="0"/>
              </a:spcAft>
            </a:pPr>
            <a:r>
              <a:rPr lang="en-US" sz="1620" dirty="0">
                <a:solidFill>
                  <a:prstClr val="black"/>
                </a:solidFill>
                <a:latin typeface="Arial"/>
              </a:rPr>
              <a:t>Target</a:t>
            </a:r>
            <a:endParaRPr lang="fi-FI" sz="162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3" name="Flowchart: Preparation 12"/>
          <p:cNvSpPr/>
          <p:nvPr/>
        </p:nvSpPr>
        <p:spPr>
          <a:xfrm>
            <a:off x="6290830" y="1810102"/>
            <a:ext cx="972108" cy="259229"/>
          </a:xfrm>
          <a:prstGeom prst="flowChartPreparation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11480" fontAlgn="base">
              <a:spcBef>
                <a:spcPct val="0"/>
              </a:spcBef>
              <a:spcAft>
                <a:spcPct val="0"/>
              </a:spcAft>
            </a:pPr>
            <a:r>
              <a:rPr lang="en-US" sz="1620" dirty="0">
                <a:solidFill>
                  <a:prstClr val="black"/>
                </a:solidFill>
                <a:latin typeface="Arial"/>
              </a:rPr>
              <a:t>Target</a:t>
            </a:r>
            <a:endParaRPr lang="fi-FI" sz="162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4" name="Flowchart: Preparation 13"/>
          <p:cNvSpPr/>
          <p:nvPr/>
        </p:nvSpPr>
        <p:spPr>
          <a:xfrm>
            <a:off x="7423517" y="2138983"/>
            <a:ext cx="972108" cy="259229"/>
          </a:xfrm>
          <a:prstGeom prst="flowChartPreparation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11480" fontAlgn="base">
              <a:spcBef>
                <a:spcPct val="0"/>
              </a:spcBef>
              <a:spcAft>
                <a:spcPct val="0"/>
              </a:spcAft>
            </a:pPr>
            <a:r>
              <a:rPr lang="en-US" sz="1620" dirty="0">
                <a:solidFill>
                  <a:prstClr val="black"/>
                </a:solidFill>
                <a:latin typeface="Arial"/>
              </a:rPr>
              <a:t>Target</a:t>
            </a:r>
            <a:endParaRPr lang="fi-FI" sz="1620" dirty="0">
              <a:solidFill>
                <a:prstClr val="black"/>
              </a:solidFill>
              <a:latin typeface="Arial"/>
            </a:endParaRPr>
          </a:p>
        </p:txBody>
      </p:sp>
      <p:cxnSp>
        <p:nvCxnSpPr>
          <p:cNvPr id="16" name="Straight Arrow Connector 15"/>
          <p:cNvCxnSpPr>
            <a:stCxn id="9" idx="3"/>
            <a:endCxn id="12" idx="1"/>
          </p:cNvCxnSpPr>
          <p:nvPr/>
        </p:nvCxnSpPr>
        <p:spPr>
          <a:xfrm flipV="1">
            <a:off x="3924622" y="1586478"/>
            <a:ext cx="1246121" cy="1316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10" idx="3"/>
            <a:endCxn id="13" idx="1"/>
          </p:cNvCxnSpPr>
          <p:nvPr/>
        </p:nvCxnSpPr>
        <p:spPr>
          <a:xfrm flipV="1">
            <a:off x="5093336" y="1939717"/>
            <a:ext cx="1197494" cy="54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>
            <a:stCxn id="11" idx="3"/>
            <a:endCxn id="14" idx="1"/>
          </p:cNvCxnSpPr>
          <p:nvPr/>
        </p:nvCxnSpPr>
        <p:spPr>
          <a:xfrm flipV="1">
            <a:off x="6192180" y="2268597"/>
            <a:ext cx="1231337" cy="1228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13012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5354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6"/>
          <a:srcRect l="26755" t="16891" r="29035" b="21666"/>
          <a:stretch/>
        </p:blipFill>
        <p:spPr>
          <a:xfrm>
            <a:off x="1507959" y="139516"/>
            <a:ext cx="6416842" cy="501634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972245" y="585091"/>
            <a:ext cx="1399979" cy="215444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Master’s degrees</a:t>
            </a:r>
            <a:endParaRPr lang="fi-FI" sz="80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972246" y="800535"/>
            <a:ext cx="1399979" cy="215444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Bachelor’s degrees</a:t>
            </a:r>
            <a:endParaRPr lang="fi-FI" sz="80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116355" y="617140"/>
            <a:ext cx="1142089" cy="338554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Master’s degrees by foreigners</a:t>
            </a:r>
            <a:endParaRPr lang="fi-FI" sz="80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116355" y="1445675"/>
            <a:ext cx="795248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Student exchange credits</a:t>
            </a:r>
            <a:endParaRPr lang="fi-FI" sz="800" dirty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602199" y="1046552"/>
            <a:ext cx="1369777" cy="338554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# of students with 55 </a:t>
            </a:r>
            <a:r>
              <a:rPr lang="en-US" sz="800" dirty="0" err="1">
                <a:solidFill>
                  <a:schemeClr val="bg1"/>
                </a:solidFill>
              </a:rPr>
              <a:t>cr</a:t>
            </a:r>
            <a:r>
              <a:rPr lang="en-US" sz="800" dirty="0">
                <a:solidFill>
                  <a:schemeClr val="bg1"/>
                </a:solidFill>
              </a:rPr>
              <a:t>/year  10%</a:t>
            </a:r>
            <a:endParaRPr lang="fi-FI" sz="80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602199" y="1415679"/>
            <a:ext cx="1369777" cy="215444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Student feedback 3%</a:t>
            </a:r>
            <a:endParaRPr lang="fi-FI" sz="80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458291" y="1135357"/>
            <a:ext cx="1027910" cy="338554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Open university 2%</a:t>
            </a:r>
            <a:endParaRPr lang="fi-FI" sz="800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754682" y="1738063"/>
            <a:ext cx="1668655" cy="215444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Employed graduates 2%</a:t>
            </a:r>
            <a:endParaRPr lang="fi-FI" sz="800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754681" y="2060447"/>
            <a:ext cx="1668655" cy="215444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Doctoral degrees 9%</a:t>
            </a:r>
            <a:endParaRPr lang="fi-FI" sz="800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754680" y="2388423"/>
            <a:ext cx="1668655" cy="215444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Publications (</a:t>
            </a:r>
            <a:r>
              <a:rPr lang="en-US" sz="800" dirty="0" err="1">
                <a:solidFill>
                  <a:schemeClr val="bg1"/>
                </a:solidFill>
              </a:rPr>
              <a:t>JuFo</a:t>
            </a:r>
            <a:r>
              <a:rPr lang="en-US" sz="800" dirty="0">
                <a:solidFill>
                  <a:schemeClr val="bg1"/>
                </a:solidFill>
              </a:rPr>
              <a:t>) 13%</a:t>
            </a:r>
            <a:endParaRPr lang="fi-FI" sz="800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192030" y="2142202"/>
            <a:ext cx="795248" cy="338554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International faculty</a:t>
            </a:r>
            <a:endParaRPr lang="fi-FI" sz="800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672234" y="2869506"/>
            <a:ext cx="2668191" cy="338554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Competitive funding 9%, of which international competitive funding 3%</a:t>
            </a:r>
            <a:endParaRPr lang="fi-FI" sz="800" dirty="0">
              <a:solidFill>
                <a:schemeClr val="bg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279175" y="3719139"/>
            <a:ext cx="2186099" cy="215444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Strategic funding 12%</a:t>
            </a:r>
            <a:endParaRPr lang="fi-FI" sz="800" dirty="0">
              <a:solidFill>
                <a:schemeClr val="bg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330287" y="3974259"/>
            <a:ext cx="2186099" cy="215444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Subject specific funding 9%</a:t>
            </a:r>
            <a:endParaRPr lang="fi-FI" sz="800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279175" y="4330193"/>
            <a:ext cx="2186099" cy="215444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National mission 7%</a:t>
            </a:r>
            <a:endParaRPr lang="fi-FI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60343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5354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6"/>
          <a:srcRect l="26755" t="16891" r="29035" b="21666"/>
          <a:stretch/>
        </p:blipFill>
        <p:spPr>
          <a:xfrm>
            <a:off x="1507959" y="127159"/>
            <a:ext cx="6416842" cy="5016341"/>
          </a:xfrm>
          <a:prstGeom prst="rect">
            <a:avLst/>
          </a:prstGeom>
        </p:spPr>
      </p:pic>
      <p:sp>
        <p:nvSpPr>
          <p:cNvPr id="2" name="Down Arrow 1"/>
          <p:cNvSpPr/>
          <p:nvPr/>
        </p:nvSpPr>
        <p:spPr>
          <a:xfrm>
            <a:off x="5381296" y="2033718"/>
            <a:ext cx="208105" cy="311008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Down Arrow 6"/>
          <p:cNvSpPr/>
          <p:nvPr/>
        </p:nvSpPr>
        <p:spPr>
          <a:xfrm rot="10800000">
            <a:off x="5606218" y="662151"/>
            <a:ext cx="208105" cy="311008"/>
          </a:xfrm>
          <a:prstGeom prst="downArrow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schemeClr val="tx2"/>
              </a:solidFill>
            </a:endParaRPr>
          </a:p>
        </p:txBody>
      </p:sp>
      <p:sp>
        <p:nvSpPr>
          <p:cNvPr id="3" name="&quot;No&quot; Symbol 2"/>
          <p:cNvSpPr/>
          <p:nvPr/>
        </p:nvSpPr>
        <p:spPr>
          <a:xfrm>
            <a:off x="6426025" y="725214"/>
            <a:ext cx="454047" cy="460353"/>
          </a:xfrm>
          <a:prstGeom prst="noSmoking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schemeClr val="tx1"/>
              </a:solidFill>
            </a:endParaRPr>
          </a:p>
        </p:txBody>
      </p:sp>
      <p:sp>
        <p:nvSpPr>
          <p:cNvPr id="8" name="&quot;No&quot; Symbol 7"/>
          <p:cNvSpPr/>
          <p:nvPr/>
        </p:nvSpPr>
        <p:spPr>
          <a:xfrm>
            <a:off x="6426024" y="1399978"/>
            <a:ext cx="454047" cy="460353"/>
          </a:xfrm>
          <a:prstGeom prst="noSmoking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schemeClr val="tx1"/>
              </a:solidFill>
            </a:endParaRPr>
          </a:p>
        </p:txBody>
      </p:sp>
      <p:sp>
        <p:nvSpPr>
          <p:cNvPr id="9" name="&quot;No&quot; Symbol 8"/>
          <p:cNvSpPr/>
          <p:nvPr/>
        </p:nvSpPr>
        <p:spPr>
          <a:xfrm>
            <a:off x="6426025" y="2114550"/>
            <a:ext cx="454047" cy="460353"/>
          </a:xfrm>
          <a:prstGeom prst="noSmoking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schemeClr val="tx1"/>
              </a:solidFill>
            </a:endParaRPr>
          </a:p>
        </p:txBody>
      </p:sp>
      <p:sp>
        <p:nvSpPr>
          <p:cNvPr id="10" name="Down Arrow 9"/>
          <p:cNvSpPr/>
          <p:nvPr/>
        </p:nvSpPr>
        <p:spPr>
          <a:xfrm rot="10800000">
            <a:off x="5173191" y="1689027"/>
            <a:ext cx="208105" cy="311008"/>
          </a:xfrm>
          <a:prstGeom prst="downArrow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schemeClr val="tx2"/>
              </a:solidFill>
            </a:endParaRPr>
          </a:p>
        </p:txBody>
      </p:sp>
      <p:sp>
        <p:nvSpPr>
          <p:cNvPr id="11" name="&quot;No&quot; Symbol 10"/>
          <p:cNvSpPr/>
          <p:nvPr/>
        </p:nvSpPr>
        <p:spPr>
          <a:xfrm>
            <a:off x="4946167" y="981655"/>
            <a:ext cx="454047" cy="460353"/>
          </a:xfrm>
          <a:prstGeom prst="noSmoking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schemeClr val="tx1"/>
              </a:solidFill>
            </a:endParaRPr>
          </a:p>
        </p:txBody>
      </p:sp>
      <p:sp>
        <p:nvSpPr>
          <p:cNvPr id="12" name="Down Arrow 11"/>
          <p:cNvSpPr/>
          <p:nvPr/>
        </p:nvSpPr>
        <p:spPr>
          <a:xfrm rot="10800000">
            <a:off x="4215698" y="1244474"/>
            <a:ext cx="208105" cy="311008"/>
          </a:xfrm>
          <a:prstGeom prst="downArrow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schemeClr val="tx2"/>
              </a:solidFill>
            </a:endParaRPr>
          </a:p>
        </p:txBody>
      </p:sp>
      <p:sp>
        <p:nvSpPr>
          <p:cNvPr id="13" name="Down Arrow 12"/>
          <p:cNvSpPr/>
          <p:nvPr/>
        </p:nvSpPr>
        <p:spPr>
          <a:xfrm rot="10800000">
            <a:off x="4007593" y="2324321"/>
            <a:ext cx="208105" cy="311008"/>
          </a:xfrm>
          <a:prstGeom prst="downArrow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schemeClr val="tx2"/>
              </a:solidFill>
            </a:endParaRPr>
          </a:p>
        </p:txBody>
      </p:sp>
      <p:sp>
        <p:nvSpPr>
          <p:cNvPr id="14" name="Down Arrow 13"/>
          <p:cNvSpPr/>
          <p:nvPr/>
        </p:nvSpPr>
        <p:spPr>
          <a:xfrm rot="10800000">
            <a:off x="6038191" y="2866655"/>
            <a:ext cx="208105" cy="311008"/>
          </a:xfrm>
          <a:prstGeom prst="downArrow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schemeClr val="tx2"/>
              </a:solidFill>
            </a:endParaRPr>
          </a:p>
        </p:txBody>
      </p:sp>
      <p:sp>
        <p:nvSpPr>
          <p:cNvPr id="15" name="Down Arrow 14"/>
          <p:cNvSpPr/>
          <p:nvPr/>
        </p:nvSpPr>
        <p:spPr>
          <a:xfrm rot="10800000">
            <a:off x="6038190" y="3591869"/>
            <a:ext cx="208105" cy="311008"/>
          </a:xfrm>
          <a:prstGeom prst="downArrow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schemeClr val="tx2"/>
              </a:solidFill>
            </a:endParaRPr>
          </a:p>
        </p:txBody>
      </p:sp>
      <p:sp>
        <p:nvSpPr>
          <p:cNvPr id="16" name="&quot;No&quot; Symbol 15"/>
          <p:cNvSpPr/>
          <p:nvPr/>
        </p:nvSpPr>
        <p:spPr>
          <a:xfrm>
            <a:off x="6426025" y="3902877"/>
            <a:ext cx="454047" cy="460353"/>
          </a:xfrm>
          <a:prstGeom prst="noSmoking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schemeClr val="tx1"/>
              </a:solidFill>
            </a:endParaRPr>
          </a:p>
        </p:txBody>
      </p:sp>
      <p:sp>
        <p:nvSpPr>
          <p:cNvPr id="17" name="Down Arrow 16"/>
          <p:cNvSpPr/>
          <p:nvPr/>
        </p:nvSpPr>
        <p:spPr>
          <a:xfrm rot="10800000">
            <a:off x="6024003" y="4260327"/>
            <a:ext cx="208105" cy="311008"/>
          </a:xfrm>
          <a:prstGeom prst="downArrow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88401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fi-FI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26842" t="36072" r="27105" b="16988"/>
          <a:stretch/>
        </p:blipFill>
        <p:spPr>
          <a:xfrm>
            <a:off x="253584" y="222349"/>
            <a:ext cx="8422105" cy="482867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7125349" y="585091"/>
            <a:ext cx="1399979" cy="215444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Master’s degrees 19%</a:t>
            </a:r>
            <a:endParaRPr lang="fi-FI" sz="8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125350" y="800535"/>
            <a:ext cx="1399979" cy="215444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Bachelor’s degrees 11%</a:t>
            </a:r>
            <a:endParaRPr lang="fi-FI" sz="80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737517" y="1218415"/>
            <a:ext cx="2267745" cy="215444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en-US" sz="800" dirty="0" err="1">
                <a:solidFill>
                  <a:schemeClr val="bg1"/>
                </a:solidFill>
              </a:rPr>
              <a:t>Continuóus</a:t>
            </a:r>
            <a:r>
              <a:rPr lang="en-US" sz="800" dirty="0">
                <a:solidFill>
                  <a:schemeClr val="bg1"/>
                </a:solidFill>
              </a:rPr>
              <a:t> learning 5%</a:t>
            </a:r>
            <a:endParaRPr lang="fi-FI" sz="80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475343" y="1553330"/>
            <a:ext cx="2267745" cy="338554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Employment 2%, </a:t>
            </a:r>
          </a:p>
          <a:p>
            <a:r>
              <a:rPr lang="en-US" sz="800" dirty="0">
                <a:solidFill>
                  <a:schemeClr val="bg1"/>
                </a:solidFill>
              </a:rPr>
              <a:t>quality of employment 2%</a:t>
            </a:r>
            <a:endParaRPr lang="fi-FI" sz="80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677873" y="1891884"/>
            <a:ext cx="1369777" cy="215444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Student feedback 3%</a:t>
            </a:r>
            <a:endParaRPr lang="fi-FI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2596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7035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ultipliers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fi-FI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6"/>
          <a:srcRect l="28597" t="21881" r="30088" b="45994"/>
          <a:stretch/>
        </p:blipFill>
        <p:spPr>
          <a:xfrm>
            <a:off x="468314" y="984350"/>
            <a:ext cx="7555832" cy="330467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933317" y="1373366"/>
            <a:ext cx="1399979" cy="1015663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endParaRPr lang="en-US" sz="1000" dirty="0">
              <a:solidFill>
                <a:schemeClr val="bg1"/>
              </a:solidFill>
            </a:endParaRPr>
          </a:p>
          <a:p>
            <a:r>
              <a:rPr lang="en-US" sz="1000" dirty="0">
                <a:solidFill>
                  <a:schemeClr val="bg1"/>
                </a:solidFill>
              </a:rPr>
              <a:t>Degree completed in target time</a:t>
            </a:r>
          </a:p>
          <a:p>
            <a:endParaRPr lang="en-US" sz="1000" dirty="0">
              <a:solidFill>
                <a:schemeClr val="bg1"/>
              </a:solidFill>
            </a:endParaRPr>
          </a:p>
          <a:p>
            <a:r>
              <a:rPr lang="en-US" sz="1000" dirty="0">
                <a:solidFill>
                  <a:schemeClr val="bg1"/>
                </a:solidFill>
              </a:rPr>
              <a:t>Multiplier 1,5</a:t>
            </a:r>
          </a:p>
          <a:p>
            <a:endParaRPr lang="fi-FI" sz="100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749505" y="1373365"/>
            <a:ext cx="1399979" cy="1015663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en-US" sz="1000" dirty="0" err="1">
                <a:solidFill>
                  <a:schemeClr val="bg1"/>
                </a:solidFill>
              </a:rPr>
              <a:t>Degreee</a:t>
            </a:r>
            <a:r>
              <a:rPr lang="en-US" sz="1000" dirty="0">
                <a:solidFill>
                  <a:schemeClr val="bg1"/>
                </a:solidFill>
              </a:rPr>
              <a:t> completed no more than 12 month past target time</a:t>
            </a:r>
          </a:p>
          <a:p>
            <a:endParaRPr lang="en-US" sz="1000" dirty="0">
              <a:solidFill>
                <a:schemeClr val="bg1"/>
              </a:solidFill>
            </a:endParaRPr>
          </a:p>
          <a:p>
            <a:r>
              <a:rPr lang="en-US" sz="1000" dirty="0">
                <a:solidFill>
                  <a:schemeClr val="bg1"/>
                </a:solidFill>
              </a:rPr>
              <a:t>Multiplier 1,3</a:t>
            </a:r>
            <a:endParaRPr lang="fi-FI" sz="100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565693" y="1373366"/>
            <a:ext cx="1399979" cy="861774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en-US" sz="1000" dirty="0" err="1">
                <a:solidFill>
                  <a:schemeClr val="bg1"/>
                </a:solidFill>
              </a:rPr>
              <a:t>Degreee</a:t>
            </a:r>
            <a:r>
              <a:rPr lang="en-US" sz="1000" dirty="0">
                <a:solidFill>
                  <a:schemeClr val="bg1"/>
                </a:solidFill>
              </a:rPr>
              <a:t> completed more than 12 month past target time</a:t>
            </a:r>
          </a:p>
          <a:p>
            <a:endParaRPr lang="en-US" sz="1000" dirty="0">
              <a:solidFill>
                <a:schemeClr val="bg1"/>
              </a:solidFill>
            </a:endParaRPr>
          </a:p>
          <a:p>
            <a:r>
              <a:rPr lang="en-US" sz="1000" dirty="0">
                <a:solidFill>
                  <a:schemeClr val="bg1"/>
                </a:solidFill>
              </a:rPr>
              <a:t>Multiplier 1,0</a:t>
            </a:r>
            <a:endParaRPr lang="fi-FI" sz="1000" dirty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90073" y="2925748"/>
            <a:ext cx="1399979" cy="707886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</a:rPr>
              <a:t>Subject group 1</a:t>
            </a:r>
          </a:p>
          <a:p>
            <a:endParaRPr lang="en-US" sz="1000" dirty="0">
              <a:solidFill>
                <a:schemeClr val="bg1"/>
              </a:solidFill>
            </a:endParaRPr>
          </a:p>
          <a:p>
            <a:endParaRPr lang="en-US" sz="1000" dirty="0">
              <a:solidFill>
                <a:schemeClr val="bg1"/>
              </a:solidFill>
            </a:endParaRPr>
          </a:p>
          <a:p>
            <a:r>
              <a:rPr lang="en-US" sz="1000" dirty="0">
                <a:solidFill>
                  <a:schemeClr val="bg1"/>
                </a:solidFill>
              </a:rPr>
              <a:t>Multiplier 1,0</a:t>
            </a:r>
            <a:endParaRPr lang="fi-FI" sz="100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799955" y="2925748"/>
            <a:ext cx="1399979" cy="707886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</a:rPr>
              <a:t>Subject group 2</a:t>
            </a:r>
          </a:p>
          <a:p>
            <a:endParaRPr lang="en-US" sz="1000" dirty="0">
              <a:solidFill>
                <a:schemeClr val="bg1"/>
              </a:solidFill>
            </a:endParaRPr>
          </a:p>
          <a:p>
            <a:endParaRPr lang="en-US" sz="1000" dirty="0">
              <a:solidFill>
                <a:schemeClr val="bg1"/>
              </a:solidFill>
            </a:endParaRPr>
          </a:p>
          <a:p>
            <a:r>
              <a:rPr lang="en-US" sz="1000" dirty="0">
                <a:solidFill>
                  <a:schemeClr val="bg1"/>
                </a:solidFill>
              </a:rPr>
              <a:t>Multiplier 1,75</a:t>
            </a:r>
            <a:endParaRPr lang="fi-FI" sz="100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609837" y="2980888"/>
            <a:ext cx="1399979" cy="707886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</a:rPr>
              <a:t>Subject group 3</a:t>
            </a:r>
          </a:p>
          <a:p>
            <a:endParaRPr lang="en-US" sz="1000" dirty="0">
              <a:solidFill>
                <a:schemeClr val="bg1"/>
              </a:solidFill>
            </a:endParaRPr>
          </a:p>
          <a:p>
            <a:r>
              <a:rPr lang="en-US" sz="1000" dirty="0">
                <a:solidFill>
                  <a:schemeClr val="bg1"/>
                </a:solidFill>
              </a:rPr>
              <a:t>Multiplier 3,0</a:t>
            </a:r>
          </a:p>
          <a:p>
            <a:endParaRPr lang="fi-FI" sz="1000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430675" y="2282744"/>
            <a:ext cx="1399979" cy="861774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</a:rPr>
              <a:t>Second degree of same level in Finland</a:t>
            </a:r>
          </a:p>
          <a:p>
            <a:endParaRPr lang="en-US" sz="1000" dirty="0">
              <a:solidFill>
                <a:schemeClr val="bg1"/>
              </a:solidFill>
            </a:endParaRPr>
          </a:p>
          <a:p>
            <a:r>
              <a:rPr lang="en-US" sz="1000" dirty="0">
                <a:solidFill>
                  <a:schemeClr val="bg1"/>
                </a:solidFill>
              </a:rPr>
              <a:t>Multiplier 0,7</a:t>
            </a:r>
          </a:p>
          <a:p>
            <a:endParaRPr lang="fi-FI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39772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half" idx="10"/>
          </p:nvPr>
        </p:nvSpPr>
        <p:spPr/>
        <p:txBody>
          <a:bodyPr/>
          <a:lstStyle/>
          <a:p>
            <a:r>
              <a:rPr lang="en-US" dirty="0"/>
              <a:t>Price per unit</a:t>
            </a:r>
            <a:endParaRPr lang="fi-FI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2312698"/>
              </p:ext>
            </p:extLst>
          </p:nvPr>
        </p:nvGraphicFramePr>
        <p:xfrm>
          <a:off x="388883" y="1326286"/>
          <a:ext cx="6096000" cy="31242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322564360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4234301526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28542900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Metric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urrent model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ew model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78149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55 credits/year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 950€/student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/a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26018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hD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78 050€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9</a:t>
                      </a:r>
                      <a:r>
                        <a:rPr lang="en-US" baseline="0" dirty="0"/>
                        <a:t> 380€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37137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International competitive funding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2%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23%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52428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Other competitive funding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1%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1%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16304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tudent</a:t>
                      </a:r>
                      <a:r>
                        <a:rPr lang="en-US" baseline="0" dirty="0"/>
                        <a:t> feedback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1€/point (=5</a:t>
                      </a:r>
                      <a:r>
                        <a:rPr lang="en-US" baseline="0" dirty="0"/>
                        <a:t> 915€/full points respondent)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1€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24761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Employment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81€/employed</a:t>
                      </a:r>
                      <a:r>
                        <a:rPr lang="en-US" baseline="0" dirty="0"/>
                        <a:t> graduate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81€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6021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39438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eedback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878683" y="735805"/>
            <a:ext cx="4859847" cy="3002475"/>
          </a:xfrm>
        </p:spPr>
        <p:txBody>
          <a:bodyPr/>
          <a:lstStyle/>
          <a:p>
            <a:r>
              <a:rPr lang="fi-FI" sz="1080" b="0" u="sng" dirty="0"/>
              <a:t>Total </a:t>
            </a:r>
            <a:r>
              <a:rPr lang="fi-FI" sz="1080" b="0" u="sng" dirty="0" err="1"/>
              <a:t>score</a:t>
            </a:r>
            <a:r>
              <a:rPr lang="fi-FI" sz="1080" b="0" u="sng" dirty="0"/>
              <a:t> </a:t>
            </a:r>
            <a:r>
              <a:rPr lang="fi-FI" sz="1080" b="0" u="sng" dirty="0" err="1"/>
              <a:t>from</a:t>
            </a:r>
            <a:r>
              <a:rPr lang="fi-FI" sz="1080" b="0" u="sng" dirty="0"/>
              <a:t> </a:t>
            </a:r>
            <a:r>
              <a:rPr lang="fi-FI" sz="1080" b="0" u="sng" dirty="0" err="1"/>
              <a:t>the</a:t>
            </a:r>
            <a:r>
              <a:rPr lang="fi-FI" sz="1080" b="0" u="sng" dirty="0"/>
              <a:t> </a:t>
            </a:r>
            <a:r>
              <a:rPr lang="fi-FI" sz="1080" b="0" u="sng" dirty="0" err="1"/>
              <a:t>following</a:t>
            </a:r>
            <a:r>
              <a:rPr lang="fi-FI" sz="1080" b="0" u="sng" dirty="0"/>
              <a:t> 13 </a:t>
            </a:r>
            <a:r>
              <a:rPr lang="fi-FI" sz="1080" b="0" u="sng" dirty="0" err="1"/>
              <a:t>questions</a:t>
            </a:r>
            <a:r>
              <a:rPr lang="fi-FI" sz="1080" b="0" u="sng" dirty="0"/>
              <a:t>:</a:t>
            </a:r>
          </a:p>
          <a:p>
            <a:r>
              <a:rPr lang="fi-FI" sz="1080" b="0" dirty="0"/>
              <a:t>(1)“I </a:t>
            </a:r>
            <a:r>
              <a:rPr lang="fi-FI" sz="1080" b="0" dirty="0" err="1"/>
              <a:t>feel</a:t>
            </a:r>
            <a:r>
              <a:rPr lang="fi-FI" sz="1080" b="0" dirty="0"/>
              <a:t> </a:t>
            </a:r>
            <a:r>
              <a:rPr lang="fi-FI" sz="1080" b="0" dirty="0" err="1"/>
              <a:t>comfortable</a:t>
            </a:r>
            <a:r>
              <a:rPr lang="fi-FI" sz="1080" b="0" dirty="0"/>
              <a:t> at my  </a:t>
            </a:r>
            <a:r>
              <a:rPr lang="fi-FI" sz="1080" b="0" dirty="0" err="1"/>
              <a:t>university</a:t>
            </a:r>
            <a:r>
              <a:rPr lang="fi-FI" sz="1080" b="0" dirty="0"/>
              <a:t>.”</a:t>
            </a:r>
          </a:p>
          <a:p>
            <a:r>
              <a:rPr lang="fi-FI" sz="1080" b="0" dirty="0"/>
              <a:t>(2)“I am </a:t>
            </a:r>
            <a:r>
              <a:rPr lang="fi-FI" sz="1080" b="0" dirty="0" err="1"/>
              <a:t>satisfied</a:t>
            </a:r>
            <a:r>
              <a:rPr lang="fi-FI" sz="1080" b="0" dirty="0"/>
              <a:t> </a:t>
            </a:r>
            <a:r>
              <a:rPr lang="fi-FI" sz="1080" b="0" dirty="0" err="1"/>
              <a:t>with</a:t>
            </a:r>
            <a:r>
              <a:rPr lang="fi-FI" sz="1080" b="0" dirty="0"/>
              <a:t> my </a:t>
            </a:r>
            <a:r>
              <a:rPr lang="fi-FI" sz="1080" b="0" dirty="0" err="1"/>
              <a:t>course</a:t>
            </a:r>
            <a:r>
              <a:rPr lang="fi-FI" sz="1080" b="0" dirty="0"/>
              <a:t> of </a:t>
            </a:r>
            <a:r>
              <a:rPr lang="fi-FI" sz="1080" b="0" dirty="0" err="1"/>
              <a:t>studies</a:t>
            </a:r>
            <a:r>
              <a:rPr lang="fi-FI" sz="1080" b="0" dirty="0"/>
              <a:t>.”, </a:t>
            </a:r>
          </a:p>
          <a:p>
            <a:r>
              <a:rPr lang="fi-FI" sz="1080" b="0" dirty="0"/>
              <a:t>(3)“</a:t>
            </a:r>
            <a:r>
              <a:rPr lang="fi-FI" sz="1080" b="0" dirty="0" err="1"/>
              <a:t>The</a:t>
            </a:r>
            <a:r>
              <a:rPr lang="fi-FI" sz="1080" b="0" dirty="0"/>
              <a:t> </a:t>
            </a:r>
            <a:r>
              <a:rPr lang="fi-FI" sz="1080" b="0" dirty="0" err="1"/>
              <a:t>skills</a:t>
            </a:r>
            <a:r>
              <a:rPr lang="fi-FI" sz="1080" b="0" dirty="0"/>
              <a:t> I </a:t>
            </a:r>
            <a:r>
              <a:rPr lang="fi-FI" sz="1080" b="0" dirty="0" err="1"/>
              <a:t>acquired</a:t>
            </a:r>
            <a:r>
              <a:rPr lang="fi-FI" sz="1080" b="0" dirty="0"/>
              <a:t> in my </a:t>
            </a:r>
            <a:r>
              <a:rPr lang="fi-FI" sz="1080" b="0" dirty="0" err="1"/>
              <a:t>education</a:t>
            </a:r>
            <a:r>
              <a:rPr lang="fi-FI" sz="1080" b="0" dirty="0"/>
              <a:t> </a:t>
            </a:r>
            <a:r>
              <a:rPr lang="fi-FI" sz="1080" b="0" dirty="0" err="1"/>
              <a:t>meet</a:t>
            </a:r>
            <a:r>
              <a:rPr lang="fi-FI" sz="1080" b="0" dirty="0"/>
              <a:t> my </a:t>
            </a:r>
            <a:r>
              <a:rPr lang="fi-FI" sz="1080" b="0" dirty="0" err="1"/>
              <a:t>expectations</a:t>
            </a:r>
            <a:r>
              <a:rPr lang="fi-FI" sz="1080" b="0" dirty="0"/>
              <a:t>.”,</a:t>
            </a:r>
          </a:p>
          <a:p>
            <a:r>
              <a:rPr lang="fi-FI" sz="1080" b="0" dirty="0"/>
              <a:t>(4)“My </a:t>
            </a:r>
            <a:r>
              <a:rPr lang="fi-FI" sz="1080" b="0" dirty="0" err="1"/>
              <a:t>education</a:t>
            </a:r>
            <a:r>
              <a:rPr lang="fi-FI" sz="1080" b="0" dirty="0"/>
              <a:t> </a:t>
            </a:r>
            <a:r>
              <a:rPr lang="fi-FI" sz="1080" b="0" dirty="0" err="1"/>
              <a:t>meets</a:t>
            </a:r>
            <a:r>
              <a:rPr lang="fi-FI" sz="1080" b="0" dirty="0"/>
              <a:t> </a:t>
            </a:r>
            <a:r>
              <a:rPr lang="fi-FI" sz="1080" b="0" dirty="0" err="1"/>
              <a:t>the</a:t>
            </a:r>
            <a:r>
              <a:rPr lang="fi-FI" sz="1080" b="0" dirty="0"/>
              <a:t> set </a:t>
            </a:r>
            <a:r>
              <a:rPr lang="fi-FI" sz="1080" b="0" dirty="0" err="1"/>
              <a:t>goals</a:t>
            </a:r>
            <a:r>
              <a:rPr lang="fi-FI" sz="1080" b="0" dirty="0"/>
              <a:t>.”, </a:t>
            </a:r>
          </a:p>
          <a:p>
            <a:r>
              <a:rPr lang="fi-FI" sz="1080" b="0" dirty="0"/>
              <a:t>(5)“</a:t>
            </a:r>
            <a:r>
              <a:rPr lang="fi-FI" sz="1080" b="0" dirty="0" err="1"/>
              <a:t>The</a:t>
            </a:r>
            <a:r>
              <a:rPr lang="fi-FI" sz="1080" b="0" dirty="0"/>
              <a:t> </a:t>
            </a:r>
            <a:r>
              <a:rPr lang="fi-FI" sz="1080" b="0" dirty="0" err="1"/>
              <a:t>teaching</a:t>
            </a:r>
            <a:r>
              <a:rPr lang="fi-FI" sz="1080" b="0" dirty="0"/>
              <a:t> </a:t>
            </a:r>
            <a:r>
              <a:rPr lang="fi-FI" sz="1080" b="0" dirty="0" err="1"/>
              <a:t>was</a:t>
            </a:r>
            <a:r>
              <a:rPr lang="fi-FI" sz="1080" b="0" dirty="0"/>
              <a:t> to a </a:t>
            </a:r>
            <a:r>
              <a:rPr lang="fi-FI" sz="1080" b="0" dirty="0" err="1"/>
              <a:t>large</a:t>
            </a:r>
            <a:r>
              <a:rPr lang="fi-FI" sz="1080" b="0" dirty="0"/>
              <a:t> </a:t>
            </a:r>
            <a:r>
              <a:rPr lang="fi-FI" sz="1080" b="0" dirty="0" err="1"/>
              <a:t>extent</a:t>
            </a:r>
            <a:r>
              <a:rPr lang="fi-FI" sz="1080" b="0" dirty="0"/>
              <a:t> of </a:t>
            </a:r>
            <a:r>
              <a:rPr lang="fi-FI" sz="1080" b="0" dirty="0" err="1"/>
              <a:t>good</a:t>
            </a:r>
            <a:r>
              <a:rPr lang="fi-FI" sz="1080" b="0" dirty="0"/>
              <a:t> </a:t>
            </a:r>
            <a:r>
              <a:rPr lang="fi-FI" sz="1080" b="0" dirty="0" err="1"/>
              <a:t>quality</a:t>
            </a:r>
            <a:r>
              <a:rPr lang="fi-FI" sz="1080" b="0" dirty="0"/>
              <a:t>.”,</a:t>
            </a:r>
          </a:p>
          <a:p>
            <a:r>
              <a:rPr lang="fi-FI" sz="1080" b="0" dirty="0"/>
              <a:t>(6)“I am </a:t>
            </a:r>
            <a:r>
              <a:rPr lang="fi-FI" sz="1080" b="0" dirty="0" err="1"/>
              <a:t>satisfied</a:t>
            </a:r>
            <a:r>
              <a:rPr lang="fi-FI" sz="1080" b="0" dirty="0"/>
              <a:t> </a:t>
            </a:r>
            <a:r>
              <a:rPr lang="fi-FI" sz="1080" b="0" dirty="0" err="1"/>
              <a:t>with</a:t>
            </a:r>
            <a:r>
              <a:rPr lang="fi-FI" sz="1080" b="0" dirty="0"/>
              <a:t> </a:t>
            </a:r>
            <a:r>
              <a:rPr lang="fi-FI" sz="1080" b="0" dirty="0" err="1"/>
              <a:t>the</a:t>
            </a:r>
            <a:r>
              <a:rPr lang="fi-FI" sz="1080" b="0" dirty="0"/>
              <a:t> </a:t>
            </a:r>
            <a:r>
              <a:rPr lang="fi-FI" sz="1080" b="0" dirty="0" err="1"/>
              <a:t>used</a:t>
            </a:r>
            <a:r>
              <a:rPr lang="fi-FI" sz="1080" b="0" dirty="0"/>
              <a:t> </a:t>
            </a:r>
            <a:r>
              <a:rPr lang="fi-FI" sz="1080" b="0" dirty="0" err="1"/>
              <a:t>teaching</a:t>
            </a:r>
            <a:r>
              <a:rPr lang="fi-FI" sz="1080" b="0" dirty="0"/>
              <a:t> </a:t>
            </a:r>
            <a:r>
              <a:rPr lang="fi-FI" sz="1080" b="0" dirty="0" err="1"/>
              <a:t>methods</a:t>
            </a:r>
            <a:r>
              <a:rPr lang="fi-FI" sz="1080" b="0" dirty="0"/>
              <a:t>.”, </a:t>
            </a:r>
          </a:p>
          <a:p>
            <a:r>
              <a:rPr lang="fi-FI" sz="1080" b="0" dirty="0"/>
              <a:t>(7)“</a:t>
            </a:r>
            <a:r>
              <a:rPr lang="fi-FI" sz="1080" b="0" dirty="0" err="1"/>
              <a:t>There</a:t>
            </a:r>
            <a:r>
              <a:rPr lang="fi-FI" sz="1080" b="0" dirty="0"/>
              <a:t> </a:t>
            </a:r>
            <a:r>
              <a:rPr lang="fi-FI" sz="1080" b="0" dirty="0" err="1"/>
              <a:t>was</a:t>
            </a:r>
            <a:r>
              <a:rPr lang="fi-FI" sz="1080" b="0" dirty="0"/>
              <a:t> </a:t>
            </a:r>
            <a:r>
              <a:rPr lang="fi-FI" sz="1080" b="0" dirty="0" err="1"/>
              <a:t>sufficient</a:t>
            </a:r>
            <a:r>
              <a:rPr lang="fi-FI" sz="1080" b="0" dirty="0"/>
              <a:t> </a:t>
            </a:r>
            <a:r>
              <a:rPr lang="fi-FI" sz="1080" b="0" dirty="0" err="1"/>
              <a:t>support</a:t>
            </a:r>
            <a:r>
              <a:rPr lang="fi-FI" sz="1080" b="0" dirty="0"/>
              <a:t>  </a:t>
            </a:r>
            <a:r>
              <a:rPr lang="fi-FI" sz="1080" b="0" dirty="0" err="1"/>
              <a:t>available</a:t>
            </a:r>
            <a:r>
              <a:rPr lang="fi-FI" sz="1080" b="0" dirty="0"/>
              <a:t> for </a:t>
            </a:r>
            <a:r>
              <a:rPr lang="fi-FI" sz="1080" b="0" dirty="0" err="1"/>
              <a:t>the</a:t>
            </a:r>
            <a:r>
              <a:rPr lang="fi-FI" sz="1080" b="0" dirty="0"/>
              <a:t> </a:t>
            </a:r>
            <a:r>
              <a:rPr lang="fi-FI" sz="1080" b="0" dirty="0" err="1"/>
              <a:t>preparation</a:t>
            </a:r>
            <a:r>
              <a:rPr lang="fi-FI" sz="1080" b="0" dirty="0"/>
              <a:t> of </a:t>
            </a:r>
            <a:r>
              <a:rPr lang="fi-FI" sz="1080" b="0" dirty="0" err="1"/>
              <a:t>the</a:t>
            </a:r>
            <a:r>
              <a:rPr lang="fi-FI" sz="1080" b="0" dirty="0"/>
              <a:t> </a:t>
            </a:r>
            <a:r>
              <a:rPr lang="fi-FI" sz="1080" b="0" dirty="0" err="1"/>
              <a:t>bachelor's</a:t>
            </a:r>
            <a:r>
              <a:rPr lang="fi-FI" sz="1080" b="0" dirty="0"/>
              <a:t> </a:t>
            </a:r>
            <a:r>
              <a:rPr lang="fi-FI" sz="1080" b="0" dirty="0" err="1"/>
              <a:t>thesis</a:t>
            </a:r>
            <a:r>
              <a:rPr lang="fi-FI" sz="1080" b="0" dirty="0"/>
              <a:t> </a:t>
            </a:r>
            <a:r>
              <a:rPr lang="fi-FI" sz="1080" b="0" dirty="0" err="1"/>
              <a:t>or</a:t>
            </a:r>
            <a:r>
              <a:rPr lang="fi-FI" sz="1080" b="0" dirty="0"/>
              <a:t> </a:t>
            </a:r>
            <a:r>
              <a:rPr lang="fi-FI" sz="1080" b="0" dirty="0" err="1"/>
              <a:t>final</a:t>
            </a:r>
            <a:r>
              <a:rPr lang="fi-FI" sz="1080" b="0" dirty="0"/>
              <a:t> </a:t>
            </a:r>
            <a:r>
              <a:rPr lang="fi-FI" sz="1080" b="0" dirty="0" err="1"/>
              <a:t>exam</a:t>
            </a:r>
            <a:r>
              <a:rPr lang="fi-FI" sz="1080" b="0" dirty="0"/>
              <a:t>.”,</a:t>
            </a:r>
          </a:p>
          <a:p>
            <a:r>
              <a:rPr lang="fi-FI" sz="1080" b="0" dirty="0"/>
              <a:t>(8)“</a:t>
            </a:r>
            <a:r>
              <a:rPr lang="fi-FI" sz="1080" b="0" dirty="0" err="1"/>
              <a:t>There</a:t>
            </a:r>
            <a:r>
              <a:rPr lang="fi-FI" sz="1080" b="0" dirty="0"/>
              <a:t> </a:t>
            </a:r>
            <a:r>
              <a:rPr lang="fi-FI" sz="1080" b="0" dirty="0" err="1"/>
              <a:t>was</a:t>
            </a:r>
            <a:r>
              <a:rPr lang="fi-FI" sz="1080" b="0" dirty="0"/>
              <a:t> </a:t>
            </a:r>
            <a:r>
              <a:rPr lang="fi-FI" sz="1080" b="0" dirty="0" err="1"/>
              <a:t>sufficient</a:t>
            </a:r>
            <a:r>
              <a:rPr lang="fi-FI" sz="1080" b="0" dirty="0"/>
              <a:t> </a:t>
            </a:r>
            <a:r>
              <a:rPr lang="fi-FI" sz="1080" b="0" dirty="0" err="1"/>
              <a:t>support</a:t>
            </a:r>
            <a:r>
              <a:rPr lang="fi-FI" sz="1080" b="0" dirty="0"/>
              <a:t> </a:t>
            </a:r>
            <a:r>
              <a:rPr lang="fi-FI" sz="1080" b="0" dirty="0" err="1"/>
              <a:t>available</a:t>
            </a:r>
            <a:r>
              <a:rPr lang="fi-FI" sz="1080" b="0" dirty="0"/>
              <a:t> for </a:t>
            </a:r>
            <a:r>
              <a:rPr lang="fi-FI" sz="1080" b="0" dirty="0" err="1"/>
              <a:t>the</a:t>
            </a:r>
            <a:r>
              <a:rPr lang="fi-FI" sz="1080" b="0" dirty="0"/>
              <a:t> </a:t>
            </a:r>
            <a:r>
              <a:rPr lang="fi-FI" sz="1080" b="0" dirty="0" err="1"/>
              <a:t>organisation</a:t>
            </a:r>
            <a:r>
              <a:rPr lang="fi-FI" sz="1080" b="0" dirty="0"/>
              <a:t> of </a:t>
            </a:r>
            <a:r>
              <a:rPr lang="fi-FI" sz="1080" b="0" dirty="0" err="1"/>
              <a:t>studies</a:t>
            </a:r>
            <a:r>
              <a:rPr lang="fi-FI" sz="1080" b="0" dirty="0"/>
              <a:t>.”,</a:t>
            </a:r>
          </a:p>
          <a:p>
            <a:r>
              <a:rPr lang="fi-FI" sz="1080" b="0" dirty="0"/>
              <a:t>(9)“How </a:t>
            </a:r>
            <a:r>
              <a:rPr lang="fi-FI" sz="1080" b="0" dirty="0" err="1"/>
              <a:t>easy</a:t>
            </a:r>
            <a:r>
              <a:rPr lang="fi-FI" sz="1080" b="0" dirty="0"/>
              <a:t> </a:t>
            </a:r>
            <a:r>
              <a:rPr lang="fi-FI" sz="1080" b="0" dirty="0" err="1"/>
              <a:t>or</a:t>
            </a:r>
            <a:r>
              <a:rPr lang="fi-FI" sz="1080" b="0" dirty="0"/>
              <a:t> </a:t>
            </a:r>
            <a:r>
              <a:rPr lang="fi-FI" sz="1080" b="0" dirty="0" err="1"/>
              <a:t>difficult</a:t>
            </a:r>
            <a:r>
              <a:rPr lang="fi-FI" sz="1080" b="0" dirty="0"/>
              <a:t> </a:t>
            </a:r>
            <a:r>
              <a:rPr lang="fi-FI" sz="1080" b="0" dirty="0" err="1"/>
              <a:t>was</a:t>
            </a:r>
            <a:r>
              <a:rPr lang="fi-FI" sz="1080" b="0" dirty="0"/>
              <a:t> it to </a:t>
            </a:r>
            <a:r>
              <a:rPr lang="fi-FI" sz="1080" b="0" dirty="0" err="1"/>
              <a:t>find</a:t>
            </a:r>
            <a:r>
              <a:rPr lang="fi-FI" sz="1080" b="0" dirty="0"/>
              <a:t> </a:t>
            </a:r>
            <a:r>
              <a:rPr lang="fi-FI" sz="1080" b="0" dirty="0" err="1"/>
              <a:t>information</a:t>
            </a:r>
            <a:r>
              <a:rPr lang="fi-FI" sz="1080" b="0" dirty="0"/>
              <a:t> and </a:t>
            </a:r>
            <a:r>
              <a:rPr lang="fi-FI" sz="1080" b="0" dirty="0" err="1"/>
              <a:t>support</a:t>
            </a:r>
            <a:r>
              <a:rPr lang="fi-FI" sz="1080" b="0" dirty="0"/>
              <a:t> on </a:t>
            </a:r>
            <a:r>
              <a:rPr lang="fi-FI" sz="1080" b="0" dirty="0" err="1"/>
              <a:t>different</a:t>
            </a:r>
            <a:r>
              <a:rPr lang="fi-FI" sz="1080" b="0" dirty="0"/>
              <a:t> </a:t>
            </a:r>
            <a:r>
              <a:rPr lang="fi-FI" sz="1080" b="0" dirty="0" err="1"/>
              <a:t>aspects</a:t>
            </a:r>
            <a:r>
              <a:rPr lang="fi-FI" sz="1080" b="0" dirty="0"/>
              <a:t> of </a:t>
            </a:r>
            <a:r>
              <a:rPr lang="fi-FI" sz="1080" b="0" dirty="0" err="1"/>
              <a:t>your</a:t>
            </a:r>
            <a:r>
              <a:rPr lang="fi-FI" sz="1080" b="0" dirty="0"/>
              <a:t> </a:t>
            </a:r>
            <a:r>
              <a:rPr lang="fi-FI" sz="1080" b="0" dirty="0" err="1"/>
              <a:t>studies</a:t>
            </a:r>
            <a:r>
              <a:rPr lang="fi-FI" sz="1080" b="0" dirty="0"/>
              <a:t>?”,</a:t>
            </a:r>
          </a:p>
          <a:p>
            <a:r>
              <a:rPr lang="fi-FI" sz="1080" b="0" dirty="0"/>
              <a:t>(10)“If </a:t>
            </a:r>
            <a:r>
              <a:rPr lang="fi-FI" sz="1080" b="0" dirty="0" err="1"/>
              <a:t>needed</a:t>
            </a:r>
            <a:r>
              <a:rPr lang="fi-FI" sz="1080" b="0" dirty="0"/>
              <a:t>, I </a:t>
            </a:r>
            <a:r>
              <a:rPr lang="fi-FI" sz="1080" b="0" dirty="0" err="1"/>
              <a:t>would</a:t>
            </a:r>
            <a:r>
              <a:rPr lang="fi-FI" sz="1080" b="0" dirty="0"/>
              <a:t>  </a:t>
            </a:r>
            <a:r>
              <a:rPr lang="fi-FI" sz="1080" b="0" dirty="0" err="1"/>
              <a:t>always</a:t>
            </a:r>
            <a:r>
              <a:rPr lang="fi-FI" sz="1080" b="0" dirty="0"/>
              <a:t> </a:t>
            </a:r>
            <a:r>
              <a:rPr lang="fi-FI" sz="1080" b="0" dirty="0" err="1"/>
              <a:t>know</a:t>
            </a:r>
            <a:r>
              <a:rPr lang="fi-FI" sz="1080" b="0" dirty="0"/>
              <a:t> </a:t>
            </a:r>
            <a:r>
              <a:rPr lang="fi-FI" sz="1080" b="0" dirty="0" err="1"/>
              <a:t>where</a:t>
            </a:r>
            <a:r>
              <a:rPr lang="fi-FI" sz="1080" b="0" dirty="0"/>
              <a:t> to </a:t>
            </a:r>
            <a:r>
              <a:rPr lang="fi-FI" sz="1080" b="0" dirty="0" err="1"/>
              <a:t>find</a:t>
            </a:r>
            <a:r>
              <a:rPr lang="fi-FI" sz="1080" b="0" dirty="0"/>
              <a:t> a  person to </a:t>
            </a:r>
            <a:r>
              <a:rPr lang="fi-FI" sz="1080" b="0" dirty="0" err="1"/>
              <a:t>whom</a:t>
            </a:r>
            <a:r>
              <a:rPr lang="fi-FI" sz="1080" b="0" dirty="0"/>
              <a:t> I </a:t>
            </a:r>
            <a:r>
              <a:rPr lang="fi-FI" sz="1080" b="0" dirty="0" err="1"/>
              <a:t>can</a:t>
            </a:r>
            <a:r>
              <a:rPr lang="fi-FI" sz="1080" b="0" dirty="0"/>
              <a:t> </a:t>
            </a:r>
            <a:r>
              <a:rPr lang="fi-FI" sz="1080" b="0" dirty="0" err="1"/>
              <a:t>turn</a:t>
            </a:r>
            <a:r>
              <a:rPr lang="fi-FI" sz="1080" b="0" dirty="0"/>
              <a:t> for help.”, </a:t>
            </a:r>
          </a:p>
          <a:p>
            <a:r>
              <a:rPr lang="fi-FI" sz="1080" b="0" dirty="0"/>
              <a:t>(11)“I </a:t>
            </a:r>
            <a:r>
              <a:rPr lang="fi-FI" sz="1080" b="0" dirty="0" err="1"/>
              <a:t>was</a:t>
            </a:r>
            <a:r>
              <a:rPr lang="fi-FI" sz="1080" b="0" dirty="0"/>
              <a:t> </a:t>
            </a:r>
            <a:r>
              <a:rPr lang="fi-FI" sz="1080" b="0" dirty="0" err="1"/>
              <a:t>satisfied</a:t>
            </a:r>
            <a:r>
              <a:rPr lang="fi-FI" sz="1080" b="0" dirty="0"/>
              <a:t> </a:t>
            </a:r>
            <a:r>
              <a:rPr lang="fi-FI" sz="1080" b="0" dirty="0" err="1"/>
              <a:t>with</a:t>
            </a:r>
            <a:r>
              <a:rPr lang="fi-FI" sz="1080" b="0" dirty="0"/>
              <a:t> </a:t>
            </a:r>
            <a:r>
              <a:rPr lang="fi-FI" sz="1080" b="0" dirty="0" err="1"/>
              <a:t>the</a:t>
            </a:r>
            <a:r>
              <a:rPr lang="fi-FI" sz="1080" b="0" dirty="0"/>
              <a:t> </a:t>
            </a:r>
            <a:r>
              <a:rPr lang="fi-FI" sz="1080" b="0" dirty="0" err="1"/>
              <a:t>opportunities</a:t>
            </a:r>
            <a:r>
              <a:rPr lang="fi-FI" sz="1080" b="0" dirty="0"/>
              <a:t>  I </a:t>
            </a:r>
            <a:r>
              <a:rPr lang="fi-FI" sz="1080" b="0" dirty="0" err="1"/>
              <a:t>had</a:t>
            </a:r>
            <a:r>
              <a:rPr lang="fi-FI" sz="1080" b="0" dirty="0"/>
              <a:t> to </a:t>
            </a:r>
            <a:r>
              <a:rPr lang="fi-FI" sz="1080" b="0" dirty="0" err="1"/>
              <a:t>influence</a:t>
            </a:r>
            <a:r>
              <a:rPr lang="fi-FI" sz="1080" b="0" dirty="0"/>
              <a:t>  and </a:t>
            </a:r>
            <a:r>
              <a:rPr lang="fi-FI" sz="1080" b="0" dirty="0" err="1"/>
              <a:t>participate</a:t>
            </a:r>
            <a:r>
              <a:rPr lang="fi-FI" sz="1080" b="0" dirty="0"/>
              <a:t> in  my </a:t>
            </a:r>
            <a:r>
              <a:rPr lang="fi-FI" sz="1080" b="0" dirty="0" err="1"/>
              <a:t>programme</a:t>
            </a:r>
            <a:r>
              <a:rPr lang="fi-FI" sz="1080" b="0" dirty="0"/>
              <a:t>.”,</a:t>
            </a:r>
          </a:p>
          <a:p>
            <a:r>
              <a:rPr lang="fi-FI" sz="1080" b="0" dirty="0"/>
              <a:t>(12)“I </a:t>
            </a:r>
            <a:r>
              <a:rPr lang="fi-FI" sz="1080" b="0" dirty="0" err="1"/>
              <a:t>was</a:t>
            </a:r>
            <a:r>
              <a:rPr lang="fi-FI" sz="1080" b="0" dirty="0"/>
              <a:t> </a:t>
            </a:r>
            <a:r>
              <a:rPr lang="fi-FI" sz="1080" b="0" dirty="0" err="1"/>
              <a:t>satisfied</a:t>
            </a:r>
            <a:r>
              <a:rPr lang="fi-FI" sz="1080" b="0" dirty="0"/>
              <a:t> </a:t>
            </a:r>
            <a:r>
              <a:rPr lang="fi-FI" sz="1080" b="0" dirty="0" err="1"/>
              <a:t>with</a:t>
            </a:r>
            <a:r>
              <a:rPr lang="fi-FI" sz="1080" b="0" dirty="0"/>
              <a:t> </a:t>
            </a:r>
            <a:r>
              <a:rPr lang="fi-FI" sz="1080" b="0" dirty="0" err="1"/>
              <a:t>the</a:t>
            </a:r>
            <a:r>
              <a:rPr lang="fi-FI" sz="1080" b="0" dirty="0"/>
              <a:t> </a:t>
            </a:r>
            <a:r>
              <a:rPr lang="fi-FI" sz="1080" b="0" dirty="0" err="1"/>
              <a:t>communication</a:t>
            </a:r>
            <a:r>
              <a:rPr lang="fi-FI" sz="1080" b="0" dirty="0"/>
              <a:t> I </a:t>
            </a:r>
            <a:r>
              <a:rPr lang="fi-FI" sz="1080" b="0" dirty="0" err="1"/>
              <a:t>had</a:t>
            </a:r>
            <a:r>
              <a:rPr lang="fi-FI" sz="1080" b="0" dirty="0"/>
              <a:t> </a:t>
            </a:r>
            <a:r>
              <a:rPr lang="fi-FI" sz="1080" b="0" dirty="0" err="1"/>
              <a:t>with</a:t>
            </a:r>
            <a:r>
              <a:rPr lang="fi-FI" sz="1080" b="0" dirty="0"/>
              <a:t> </a:t>
            </a:r>
            <a:r>
              <a:rPr lang="fi-FI" sz="1080" b="0" dirty="0" err="1"/>
              <a:t>the</a:t>
            </a:r>
            <a:r>
              <a:rPr lang="fi-FI" sz="1080" b="0" dirty="0"/>
              <a:t> </a:t>
            </a:r>
            <a:r>
              <a:rPr lang="fi-FI" sz="1080" b="0" dirty="0" err="1"/>
              <a:t>teaching</a:t>
            </a:r>
            <a:r>
              <a:rPr lang="fi-FI" sz="1080" b="0" dirty="0"/>
              <a:t> </a:t>
            </a:r>
            <a:r>
              <a:rPr lang="fi-FI" sz="1080" b="0" dirty="0" err="1"/>
              <a:t>staff</a:t>
            </a:r>
            <a:r>
              <a:rPr lang="fi-FI" sz="1080" b="0" dirty="0"/>
              <a:t>.”, </a:t>
            </a:r>
          </a:p>
          <a:p>
            <a:r>
              <a:rPr lang="fi-FI" sz="1080" b="0" dirty="0"/>
              <a:t>(13)“</a:t>
            </a:r>
            <a:r>
              <a:rPr lang="fi-FI" sz="1080" b="0" dirty="0" err="1"/>
              <a:t>The</a:t>
            </a:r>
            <a:r>
              <a:rPr lang="fi-FI" sz="1080" b="0" dirty="0"/>
              <a:t> feedback I </a:t>
            </a:r>
            <a:r>
              <a:rPr lang="fi-FI" sz="1080" b="0" dirty="0" err="1"/>
              <a:t>received</a:t>
            </a:r>
            <a:r>
              <a:rPr lang="fi-FI" sz="1080" b="0" dirty="0"/>
              <a:t> </a:t>
            </a:r>
            <a:r>
              <a:rPr lang="fi-FI" sz="1080" b="0" dirty="0" err="1"/>
              <a:t>from</a:t>
            </a:r>
            <a:r>
              <a:rPr lang="fi-FI" sz="1080" b="0" dirty="0"/>
              <a:t> </a:t>
            </a:r>
            <a:r>
              <a:rPr lang="fi-FI" sz="1080" b="0" dirty="0" err="1"/>
              <a:t>the</a:t>
            </a:r>
            <a:r>
              <a:rPr lang="fi-FI" sz="1080" b="0" dirty="0"/>
              <a:t> </a:t>
            </a:r>
            <a:r>
              <a:rPr lang="fi-FI" sz="1080" b="0" dirty="0" err="1"/>
              <a:t>teaching</a:t>
            </a:r>
            <a:r>
              <a:rPr lang="fi-FI" sz="1080" b="0" dirty="0"/>
              <a:t> </a:t>
            </a:r>
            <a:r>
              <a:rPr lang="fi-FI" sz="1080" b="0" dirty="0" err="1"/>
              <a:t>staff</a:t>
            </a:r>
            <a:r>
              <a:rPr lang="fi-FI" sz="1080" b="0" dirty="0"/>
              <a:t> </a:t>
            </a:r>
            <a:r>
              <a:rPr lang="fi-FI" sz="1080" b="0" dirty="0" err="1"/>
              <a:t>has</a:t>
            </a:r>
            <a:r>
              <a:rPr lang="fi-FI" sz="1080" b="0" dirty="0"/>
              <a:t> </a:t>
            </a:r>
            <a:r>
              <a:rPr lang="fi-FI" sz="1080" b="0" dirty="0" err="1"/>
              <a:t>helped</a:t>
            </a:r>
            <a:r>
              <a:rPr lang="fi-FI" sz="1080" b="0" dirty="0"/>
              <a:t> me </a:t>
            </a:r>
            <a:r>
              <a:rPr lang="fi-FI" sz="1080" b="0" dirty="0" err="1"/>
              <a:t>with</a:t>
            </a:r>
            <a:r>
              <a:rPr lang="fi-FI" sz="1080" b="0" dirty="0"/>
              <a:t> my </a:t>
            </a:r>
            <a:r>
              <a:rPr lang="fi-FI" sz="1080" b="0" dirty="0" err="1"/>
              <a:t>studies</a:t>
            </a:r>
            <a:r>
              <a:rPr lang="fi-FI" sz="1080" b="0" dirty="0"/>
              <a:t>.”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defTabSz="411480" fontAlgn="base">
              <a:spcBef>
                <a:spcPct val="0"/>
              </a:spcBef>
              <a:spcAft>
                <a:spcPct val="0"/>
              </a:spcAft>
              <a:defRPr/>
            </a:pPr>
            <a:fld id="{24CBB682-87B2-4236-AF78-B49807E7713E}" type="datetime1">
              <a:rPr lang="fi-FI">
                <a:solidFill>
                  <a:prstClr val="black">
                    <a:tint val="75000"/>
                  </a:prstClr>
                </a:solidFill>
                <a:latin typeface="Arial" charset="0"/>
                <a:ea typeface="ＭＳ Ｐゴシック" charset="0"/>
              </a:rPr>
              <a:pPr defTabSz="411480" fontAlgn="base">
                <a:spcBef>
                  <a:spcPct val="0"/>
                </a:spcBef>
                <a:spcAft>
                  <a:spcPct val="0"/>
                </a:spcAft>
                <a:defRPr/>
              </a:pPr>
              <a:t>25.5.2019</a:t>
            </a:fld>
            <a:endParaRPr lang="fi-FI">
              <a:solidFill>
                <a:prstClr val="black">
                  <a:tint val="75000"/>
                </a:prstClr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411480" fontAlgn="base">
              <a:spcBef>
                <a:spcPct val="0"/>
              </a:spcBef>
              <a:spcAft>
                <a:spcPct val="0"/>
              </a:spcAft>
              <a:defRPr/>
            </a:pPr>
            <a:fld id="{49EFD4B7-1CC6-864B-A72A-C978B70BBA9B}" type="slidenum">
              <a:rPr lang="fi-FI">
                <a:solidFill>
                  <a:prstClr val="black">
                    <a:tint val="75000"/>
                  </a:prstClr>
                </a:solidFill>
                <a:latin typeface="Arial" charset="0"/>
                <a:ea typeface="ＭＳ Ｐゴシック" charset="0"/>
              </a:rPr>
              <a:pPr defTabSz="411480"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fi-FI">
              <a:solidFill>
                <a:prstClr val="black">
                  <a:tint val="75000"/>
                </a:prstClr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868144" y="493493"/>
            <a:ext cx="2527481" cy="21328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11480" fontAlgn="base">
              <a:spcBef>
                <a:spcPct val="0"/>
              </a:spcBef>
              <a:spcAft>
                <a:spcPct val="0"/>
              </a:spcAft>
            </a:pPr>
            <a:r>
              <a:rPr lang="fi-FI" sz="1260" u="sng" dirty="0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Calculation</a:t>
            </a:r>
            <a:r>
              <a:rPr lang="fi-FI" sz="1260" u="sng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 of </a:t>
            </a:r>
            <a:r>
              <a:rPr lang="fi-FI" sz="1260" u="sng" dirty="0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scores</a:t>
            </a:r>
            <a:r>
              <a:rPr lang="fi-FI" sz="1260" u="sng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:</a:t>
            </a:r>
          </a:p>
          <a:p>
            <a:pPr defTabSz="411480" fontAlgn="base">
              <a:spcBef>
                <a:spcPct val="0"/>
              </a:spcBef>
              <a:spcAft>
                <a:spcPct val="0"/>
              </a:spcAft>
            </a:pP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5 ‐ </a:t>
            </a: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Agree</a:t>
            </a: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/</a:t>
            </a: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very</a:t>
            </a: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 </a:t>
            </a: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easy</a:t>
            </a:r>
            <a:endParaRPr lang="fi-FI" sz="1260" dirty="0">
              <a:solidFill>
                <a:prstClr val="black"/>
              </a:solidFill>
              <a:latin typeface="Arial" charset="0"/>
              <a:ea typeface="ＭＳ Ｐゴシック" charset="0"/>
            </a:endParaRPr>
          </a:p>
          <a:p>
            <a:pPr defTabSz="411480" fontAlgn="base">
              <a:spcBef>
                <a:spcPct val="0"/>
              </a:spcBef>
              <a:spcAft>
                <a:spcPct val="0"/>
              </a:spcAft>
            </a:pP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4 ‐ </a:t>
            </a: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Somewhat</a:t>
            </a: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 </a:t>
            </a: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agree</a:t>
            </a: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 / </a:t>
            </a: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moderately</a:t>
            </a: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 </a:t>
            </a: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easy</a:t>
            </a:r>
            <a:endParaRPr lang="fi-FI" sz="1260" dirty="0">
              <a:solidFill>
                <a:prstClr val="black"/>
              </a:solidFill>
              <a:latin typeface="Arial" charset="0"/>
              <a:ea typeface="ＭＳ Ｐゴシック" charset="0"/>
            </a:endParaRPr>
          </a:p>
          <a:p>
            <a:pPr defTabSz="411480" fontAlgn="base">
              <a:spcBef>
                <a:spcPct val="0"/>
              </a:spcBef>
              <a:spcAft>
                <a:spcPct val="0"/>
              </a:spcAft>
            </a:pP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3 ‐ </a:t>
            </a: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Somewhat</a:t>
            </a: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 </a:t>
            </a: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disagree</a:t>
            </a: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 / </a:t>
            </a: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moderately</a:t>
            </a: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 </a:t>
            </a: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difficult</a:t>
            </a:r>
            <a:endParaRPr lang="fi-FI" sz="1260" dirty="0">
              <a:solidFill>
                <a:prstClr val="black"/>
              </a:solidFill>
              <a:latin typeface="Arial" charset="0"/>
              <a:ea typeface="ＭＳ Ｐゴシック" charset="0"/>
            </a:endParaRPr>
          </a:p>
          <a:p>
            <a:pPr defTabSz="411480" fontAlgn="base">
              <a:spcBef>
                <a:spcPct val="0"/>
              </a:spcBef>
              <a:spcAft>
                <a:spcPct val="0"/>
              </a:spcAft>
            </a:pP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2 ‐ </a:t>
            </a: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Disagree</a:t>
            </a: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 / </a:t>
            </a: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very</a:t>
            </a: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 </a:t>
            </a: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difficult</a:t>
            </a:r>
            <a:endParaRPr lang="fi-FI" sz="1260" dirty="0">
              <a:solidFill>
                <a:prstClr val="black"/>
              </a:solidFill>
              <a:latin typeface="Arial" charset="0"/>
              <a:ea typeface="ＭＳ Ｐゴシック" charset="0"/>
            </a:endParaRPr>
          </a:p>
          <a:p>
            <a:pPr defTabSz="411480" fontAlgn="base">
              <a:spcBef>
                <a:spcPct val="0"/>
              </a:spcBef>
              <a:spcAft>
                <a:spcPct val="0"/>
              </a:spcAft>
            </a:pP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1 ‐ I </a:t>
            </a: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cannot</a:t>
            </a: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 </a:t>
            </a: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answer</a:t>
            </a: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 </a:t>
            </a: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this</a:t>
            </a: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 </a:t>
            </a: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question</a:t>
            </a: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 / I </a:t>
            </a: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cannot</a:t>
            </a: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 </a:t>
            </a: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assess</a:t>
            </a: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 </a:t>
            </a: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this</a:t>
            </a: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 </a:t>
            </a: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statement</a:t>
            </a: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 /I </a:t>
            </a: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did</a:t>
            </a: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 </a:t>
            </a: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not</a:t>
            </a: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 </a:t>
            </a: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need</a:t>
            </a: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 </a:t>
            </a: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support</a:t>
            </a: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 in </a:t>
            </a: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this</a:t>
            </a: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 </a:t>
            </a: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issue</a:t>
            </a:r>
            <a:endParaRPr lang="fi-FI" sz="1260" dirty="0">
              <a:solidFill>
                <a:prstClr val="black"/>
              </a:solidFill>
              <a:latin typeface="Arial" charset="0"/>
              <a:ea typeface="ＭＳ Ｐゴシック" charset="0"/>
            </a:endParaRPr>
          </a:p>
          <a:p>
            <a:pPr defTabSz="411480" fontAlgn="base">
              <a:spcBef>
                <a:spcPct val="0"/>
              </a:spcBef>
              <a:spcAft>
                <a:spcPct val="0"/>
              </a:spcAft>
            </a:pPr>
            <a:endParaRPr lang="fi-FI" sz="1260" b="1" dirty="0">
              <a:solidFill>
                <a:prstClr val="black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868144" y="2702163"/>
            <a:ext cx="2527481" cy="969496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>
            <a:spAutoFit/>
          </a:bodyPr>
          <a:lstStyle/>
          <a:p>
            <a:pPr defTabSz="411480" fontAlgn="base">
              <a:spcBef>
                <a:spcPct val="0"/>
              </a:spcBef>
              <a:spcAft>
                <a:spcPct val="0"/>
              </a:spcAft>
            </a:pPr>
            <a:r>
              <a:rPr lang="fi-FI" sz="1260" u="sng" dirty="0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Calculation</a:t>
            </a:r>
            <a:r>
              <a:rPr lang="fi-FI" sz="1260" u="sng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 of </a:t>
            </a:r>
            <a:r>
              <a:rPr lang="fi-FI" sz="1260" u="sng" dirty="0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scores</a:t>
            </a:r>
            <a:r>
              <a:rPr lang="fi-FI" sz="1260" u="sng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:</a:t>
            </a:r>
          </a:p>
          <a:p>
            <a:pPr defTabSz="411480" fontAlgn="base">
              <a:spcBef>
                <a:spcPct val="0"/>
              </a:spcBef>
              <a:spcAft>
                <a:spcPct val="0"/>
              </a:spcAft>
            </a:pP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Full </a:t>
            </a: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</a:rPr>
              <a:t>marks</a:t>
            </a: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</a:rPr>
              <a:t>      </a:t>
            </a: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  <a:sym typeface="Wingdings" panose="05000000000000000000" pitchFamily="2" charset="2"/>
              </a:rPr>
              <a:t> 65 </a:t>
            </a: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  <a:sym typeface="Wingdings" panose="05000000000000000000" pitchFamily="2" charset="2"/>
              </a:rPr>
              <a:t>pts</a:t>
            </a: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  <a:sym typeface="Wingdings" panose="05000000000000000000" pitchFamily="2" charset="2"/>
              </a:rPr>
              <a:t> = 7 605€</a:t>
            </a:r>
          </a:p>
          <a:p>
            <a:pPr defTabSz="411480" fontAlgn="base">
              <a:spcBef>
                <a:spcPct val="0"/>
              </a:spcBef>
              <a:spcAft>
                <a:spcPct val="0"/>
              </a:spcAft>
            </a:pP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  <a:sym typeface="Wingdings" panose="05000000000000000000" pitchFamily="2" charset="2"/>
              </a:rPr>
              <a:t>Somewhat</a:t>
            </a: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  <a:sym typeface="Wingdings" panose="05000000000000000000" pitchFamily="2" charset="2"/>
              </a:rPr>
              <a:t> ok  52 </a:t>
            </a: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  <a:sym typeface="Wingdings" panose="05000000000000000000" pitchFamily="2" charset="2"/>
              </a:rPr>
              <a:t>pts</a:t>
            </a: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  <a:sym typeface="Wingdings" panose="05000000000000000000" pitchFamily="2" charset="2"/>
              </a:rPr>
              <a:t> = 6 084€</a:t>
            </a:r>
          </a:p>
          <a:p>
            <a:pPr defTabSz="411480" fontAlgn="base">
              <a:spcBef>
                <a:spcPct val="0"/>
              </a:spcBef>
              <a:spcAft>
                <a:spcPct val="0"/>
              </a:spcAft>
            </a:pP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  <a:sym typeface="Wingdings" panose="05000000000000000000" pitchFamily="2" charset="2"/>
              </a:rPr>
              <a:t>All</a:t>
            </a: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  <a:sym typeface="Wingdings" panose="05000000000000000000" pitchFamily="2" charset="2"/>
              </a:rPr>
              <a:t> </a:t>
            </a: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  <a:sym typeface="Wingdings" panose="05000000000000000000" pitchFamily="2" charset="2"/>
              </a:rPr>
              <a:t>wrong</a:t>
            </a: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  <a:sym typeface="Wingdings" panose="05000000000000000000" pitchFamily="2" charset="2"/>
              </a:rPr>
              <a:t>         26 </a:t>
            </a:r>
            <a:r>
              <a:rPr lang="fi-FI" sz="1260" dirty="0" err="1">
                <a:solidFill>
                  <a:prstClr val="black"/>
                </a:solidFill>
                <a:latin typeface="Arial" charset="0"/>
                <a:ea typeface="ＭＳ Ｐゴシック" charset="0"/>
                <a:sym typeface="Wingdings" panose="05000000000000000000" pitchFamily="2" charset="2"/>
              </a:rPr>
              <a:t>pts</a:t>
            </a:r>
            <a:r>
              <a:rPr lang="fi-FI" sz="1260" dirty="0">
                <a:solidFill>
                  <a:prstClr val="black"/>
                </a:solidFill>
                <a:latin typeface="Arial" charset="0"/>
                <a:ea typeface="ＭＳ Ｐゴシック" charset="0"/>
                <a:sym typeface="Wingdings" panose="05000000000000000000" pitchFamily="2" charset="2"/>
              </a:rPr>
              <a:t> = 3 042€</a:t>
            </a:r>
          </a:p>
          <a:p>
            <a:pPr defTabSz="411480" fontAlgn="base">
              <a:spcBef>
                <a:spcPct val="0"/>
              </a:spcBef>
              <a:spcAft>
                <a:spcPct val="0"/>
              </a:spcAft>
            </a:pPr>
            <a:r>
              <a:rPr lang="en-US" sz="1260" dirty="0">
                <a:solidFill>
                  <a:prstClr val="black"/>
                </a:solidFill>
                <a:latin typeface="Arial" charset="0"/>
                <a:ea typeface="ＭＳ Ｐゴシック" charset="0"/>
                <a:sym typeface="Wingdings" panose="05000000000000000000" pitchFamily="2" charset="2"/>
              </a:rPr>
              <a:t>I don’t know    13 pts = 1 521€</a:t>
            </a:r>
            <a:endParaRPr lang="fi-FI" sz="1260" dirty="0">
              <a:solidFill>
                <a:prstClr val="black"/>
              </a:solidFill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73964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half" idx="10"/>
          </p:nvPr>
        </p:nvSpPr>
        <p:spPr/>
        <p:txBody>
          <a:bodyPr/>
          <a:lstStyle/>
          <a:p>
            <a:r>
              <a:rPr lang="en-US" dirty="0"/>
              <a:t>Price per unit</a:t>
            </a:r>
            <a:endParaRPr lang="fi-FI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419494"/>
              </p:ext>
            </p:extLst>
          </p:nvPr>
        </p:nvGraphicFramePr>
        <p:xfrm>
          <a:off x="388883" y="1326286"/>
          <a:ext cx="6096000" cy="30988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322564360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4234301526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28542900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Metric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urrent model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ew model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78149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Employment quality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/a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82€/point</a:t>
                      </a:r>
                      <a:r>
                        <a:rPr lang="en-US" baseline="0" dirty="0"/>
                        <a:t> (=8 460€/full points respondent)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26018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JuFo</a:t>
                      </a:r>
                      <a:r>
                        <a:rPr lang="en-US" baseline="0" dirty="0"/>
                        <a:t> points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 115€/point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 432€/point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37137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tudent exchange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10€/exchange point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/a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52428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Foreign Master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 116</a:t>
                      </a:r>
                      <a:r>
                        <a:rPr lang="en-US" baseline="0" dirty="0"/>
                        <a:t>€/graduate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/a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16304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Open university credit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3€/credit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86€/credit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24761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achelor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7 305€/graduate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ee next slide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6021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Masters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4 345€/graduate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ee next slide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05177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062610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Bz4pfOSNezrBGDB_lEj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4JgUVQIusvcg0WiEL3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FC2hdGQBqUMlnO8JYr3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Sl0DQcR_qkFn5p3J9Vj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M4_j8wRsOXiTRKyZ75i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Rfil1VQXahYkEZswMvf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xzjS3OR6GQO8L1u1mf6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zzELpMRWuMfvwuVrv4x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EaUF2wRo6Yc7NAXahVm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LNE4nzSK.At_b_aIrVb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avJSllTE6SuqL8WLfrW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gDblIKSueyRC4EgL3s2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RHLupLSGKVyk9v_k9aM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8B3ZBaRq6ME6CbWptJV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3jgNIGRYa.QOiOdA4L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aoTYymTcOO0GBglHbEr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xyRZnJQ3W67MHe1Uv5f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MJI8lKR0KxsZtanQVb3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PwzcxGQ3yu5.L0NAAIw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PFTWlSQ8qARJ5XvfNEv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zMKQh0SWG_yXWyQsAij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OrzNyeQbi5Pizh__qFH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XL5i46RuWg7FBxf8w3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T48b59RY6vDgqJYW1so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3cdfXvRbOtylPyUyO9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BfZgVESgm9icqa6Wj76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vTqwW7RO2aRmYcmHbxj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xQxcrZQJmzZRkJObrVg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Sbip5wShCpiWjXV_ZNE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XTx261SHGGKYmor3CPe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yDFTRGQgydk4mQOISM0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ddJaBHT9GK7smz3kk4K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wJub9LTxCcD852hrSd5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XqF9ESRnOowWPQqxtJW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Vxn7YuQemfrODp_AYr3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hUlsPSRM2n.sE366gr5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liwBdcSeW4vdDsgRWf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06pcsASdmsJ8CUVkYUn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nyqplfS1CMHGgD0B4J7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_myAdtRBCNUns3sU5Gs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LfldrOSK6HwEulQmVTl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hMUIyASTq2_wwsro.gt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hwrsW8S.6P.ST9MQItL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1ofkBaR0mAo01yepRND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s2HQMySYiWX3qrTJXSC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TegYpZToanMKuMzZ0f8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ygVlm_Sjy2Zv8UcOOE4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2HOwqTShypCD8N2QamO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u5ZFhMS461iGBeXJTVn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4y1vFHRZOoIQmAi_vtC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tJhcYkTaCqXQEv8jRh3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hZJ5W9TKilzg5Dxwq_O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EaUF2wRo6Yc7NAXahVm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eC_ptWR4OEYpVW__pmJ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lMeJC7T6qGD0I4e19y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Rfil1VQXahYkEZswMvf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8tHEgTSSCUYItFQY.y3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Bz4pfOSNezrBGDB_lEj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Sl0DQcR_qkFn5p3J9Vj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vjIiaYTgK.2kcl9CsdO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0bhbdXSX2Y0GEcvrC.c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7qgB0T4miRgluR8aHx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bHqpooRTqW2LJ9lZVrV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4JgUVQIusvcg0WiEL3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uON3KhTFCp7sc5BzNr.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FC2hdGQBqUMlnO8JYr3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M4_j8wRsOXiTRKyZ75i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xzjS3OR6GQO8L1u1mf6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EaUF2wRo6Yc7NAXahVm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VTJ2viQhKKa.56c5krY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lMeJC7T6qGD0I4e19yu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bHqpooRTqW2LJ9lZVrV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8tHEgTSSCUYItFQY.y3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vjIiaYTgK.2kcl9Csd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4JgUVQIusvcg0WiEL3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0bhbdXSX2Y0GEcvrC.c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7qgB0T4miRgluR8aHx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Bz4pfOSNezrBGDB_lEj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uON3KhTFCp7sc5BzNr.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FC2hdGQBqUMlnO8JYr3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Sl0DQcR_qkFn5p3J9Vj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M4_j8wRsOXiTRKyZ75i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Rfil1VQXahYkEZswMvf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xzjS3OR6GQO8L1u1mf6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f5OK6LSxaKBgMlDaO8Z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EaUF2wRo6Yc7NAXahVm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LCvlw_QVefwDnBd9c48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lMeJC7T6qGD0I4e19yu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8tHEgTSSCUYItFQY.y3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vjIiaYTgK.2kcl9CsdO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7qgB0T4miRgluR8aHx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0bhbdXSX2Y0GEcvrC.c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uON3KhTFCp7sc5BzNr.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bHqpooRTqW2LJ9lZVrVg"/>
</p:tagLst>
</file>

<file path=ppt/theme/theme1.xml><?xml version="1.0" encoding="utf-8"?>
<a:theme xmlns:a="http://schemas.openxmlformats.org/drawingml/2006/main" name="Office-teema">
  <a:themeElements>
    <a:clrScheme name="Mukautettu 4">
      <a:dk1>
        <a:sysClr val="windowText" lastClr="000000"/>
      </a:dk1>
      <a:lt1>
        <a:sysClr val="window" lastClr="FFFFFF"/>
      </a:lt1>
      <a:dk2>
        <a:srgbClr val="78BE20"/>
      </a:dk2>
      <a:lt2>
        <a:srgbClr val="AED879"/>
      </a:lt2>
      <a:accent1>
        <a:srgbClr val="0C0C0C"/>
      </a:accent1>
      <a:accent2>
        <a:srgbClr val="595959"/>
      </a:accent2>
      <a:accent3>
        <a:srgbClr val="A5A5A5"/>
      </a:accent3>
      <a:accent4>
        <a:srgbClr val="D8D8D8"/>
      </a:accent4>
      <a:accent5>
        <a:srgbClr val="F2F2F2"/>
      </a:accent5>
      <a:accent6>
        <a:srgbClr val="FFFFFF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alto_BIZ_169_EN.potx" id="{69F26776-FB86-42CC-B9C7-5788F312165E}" vid="{BF5F540A-8380-403A-957D-586CCE703F1D}"/>
    </a:ext>
  </a:extLst>
</a:theme>
</file>

<file path=ppt/theme/theme2.xml><?xml version="1.0" encoding="utf-8"?>
<a:theme xmlns:a="http://schemas.openxmlformats.org/drawingml/2006/main" name="Aalto University">
  <a:themeElements>
    <a:clrScheme name="Aalto-kauppa">
      <a:dk1>
        <a:sysClr val="windowText" lastClr="000000"/>
      </a:dk1>
      <a:lt1>
        <a:sysClr val="window" lastClr="FFFFFF"/>
      </a:lt1>
      <a:dk2>
        <a:srgbClr val="78BE20"/>
      </a:dk2>
      <a:lt2>
        <a:srgbClr val="8C857B"/>
      </a:lt2>
      <a:accent1>
        <a:srgbClr val="78BE20"/>
      </a:accent1>
      <a:accent2>
        <a:srgbClr val="FFCD00"/>
      </a:accent2>
      <a:accent3>
        <a:srgbClr val="EF3340"/>
      </a:accent3>
      <a:accent4>
        <a:srgbClr val="005EB8"/>
      </a:accent4>
      <a:accent5>
        <a:srgbClr val="8C857B"/>
      </a:accent5>
      <a:accent6>
        <a:srgbClr val="00965E"/>
      </a:accent6>
      <a:hlink>
        <a:srgbClr val="000000"/>
      </a:hlink>
      <a:folHlink>
        <a:srgbClr val="928B81"/>
      </a:folHlink>
    </a:clrScheme>
    <a:fontScheme name="Aalto-yliopis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b="1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8" id="{ECD78E7F-3D48-4012-844A-6582CCB7ACC9}" vid="{1E3A92F0-686A-4013-A75C-489663080FE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alto_BIZ_169_EN</Template>
  <TotalTime>725</TotalTime>
  <Words>1003</Words>
  <Application>Microsoft Macintosh PowerPoint</Application>
  <PresentationFormat>On-screen Show (16:9)</PresentationFormat>
  <Paragraphs>257</Paragraphs>
  <Slides>1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7" baseType="lpstr">
      <vt:lpstr>Arial</vt:lpstr>
      <vt:lpstr>Arial</vt:lpstr>
      <vt:lpstr>Calibri</vt:lpstr>
      <vt:lpstr>Courier New</vt:lpstr>
      <vt:lpstr>Georgia</vt:lpstr>
      <vt:lpstr>Lucida Grande</vt:lpstr>
      <vt:lpstr>Office-teema</vt:lpstr>
      <vt:lpstr>Aalto University</vt:lpstr>
      <vt:lpstr>think-cell Slide</vt:lpstr>
      <vt:lpstr>Education funding in universities</vt:lpstr>
      <vt:lpstr>3 year average  delay in impact</vt:lpstr>
      <vt:lpstr>PowerPoint Presentation</vt:lpstr>
      <vt:lpstr>PowerPoint Presentation</vt:lpstr>
      <vt:lpstr>PowerPoint Presentation</vt:lpstr>
      <vt:lpstr>Multipliers</vt:lpstr>
      <vt:lpstr>PowerPoint Presentation</vt:lpstr>
      <vt:lpstr>Feedback</vt:lpstr>
      <vt:lpstr>PowerPoint Presentation</vt:lpstr>
      <vt:lpstr>JuFo points</vt:lpstr>
      <vt:lpstr>PowerPoint Presentation</vt:lpstr>
      <vt:lpstr>Impact of new funding model</vt:lpstr>
      <vt:lpstr>yImpact split by category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Aalto Universit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ducation funding in universities</dc:title>
  <dc:creator>Välimäki Jussi</dc:creator>
  <cp:lastModifiedBy>Microsoft Office User</cp:lastModifiedBy>
  <cp:revision>11</cp:revision>
  <dcterms:created xsi:type="dcterms:W3CDTF">2019-05-22T19:32:19Z</dcterms:created>
  <dcterms:modified xsi:type="dcterms:W3CDTF">2019-05-25T09:48:34Z</dcterms:modified>
</cp:coreProperties>
</file>